
<file path=[Content_Types].xml><?xml version="1.0" encoding="utf-8"?>
<Types xmlns="http://schemas.openxmlformats.org/package/2006/content-types">
  <Default ContentType="application/vnd.openxmlformats-officedocument.oleObject" Extension="bin"/>
  <Default ContentType="image/png" Extension="png"/>
  <Default ContentType="image/x-emf" Extension="emf"/>
  <Default ContentType="image/jpeg" Extension="jpeg"/>
  <Default ContentType="application/vnd.openxmlformats-package.relationships+xml" Extension="rels"/>
  <Default ContentType="application/xml" Extension="xml"/>
  <Default ContentType="application/vnd.openxmlformats-officedocument.vmlDrawing" Extension="vml"/>
  <Default ContentType="image/gif" Extension="gif"/>
  <Override ContentType="application/vnd.openxmlformats-officedocument.presentationml.presentation.main+xml" PartName="/ppt/presentation.xml"/>
  <Override ContentType="application/vnd.openxmlformats-officedocument.presentationml.slideMaster+xml" PartName="/ppt/slideMasters/slideMaster1.xml"/>
  <Override ContentType="application/vnd.openxmlformats-officedocument.presentationml.slideMaster+xml" PartName="/ppt/slideMasters/slideMaster2.xml"/>
  <Override ContentType="application/vnd.openxmlformats-officedocument.presentationml.slideMaster+xml" PartName="/ppt/slideMasters/slideMaster3.xml"/>
  <Override ContentType="application/vnd.openxmlformats-officedocument.presentationml.slideMaster+xml" PartName="/ppt/slideMasters/slideMaster4.xml"/>
  <Override ContentType="application/vnd.openxmlformats-officedocument.presentationml.slideMaster+xml" PartName="/ppt/slideMasters/slideMaster5.xml"/>
  <Override ContentType="application/vnd.openxmlformats-officedocument.presentationml.slide+xml" PartName="/ppt/slides/slide1.xml"/>
  <Override ContentType="application/vnd.openxmlformats-officedocument.presentationml.slide+xml" PartName="/ppt/slides/slide2.xml"/>
  <Override ContentType="application/vnd.openxmlformats-officedocument.presentationml.slide+xml" PartName="/ppt/slides/slide3.xml"/>
  <Override ContentType="application/vnd.openxmlformats-officedocument.presentationml.slide+xml" PartName="/ppt/slides/slide4.xml"/>
  <Override ContentType="application/vnd.openxmlformats-officedocument.presentationml.slide+xml" PartName="/ppt/slides/slide5.xml"/>
  <Override ContentType="application/vnd.openxmlformats-officedocument.presentationml.slide+xml" PartName="/ppt/slides/slide6.xml"/>
  <Override ContentType="application/vnd.openxmlformats-officedocument.presentationml.slide+xml" PartName="/ppt/slides/slide7.xml"/>
  <Override ContentType="application/vnd.openxmlformats-officedocument.presentationml.slide+xml" PartName="/ppt/slides/slide8.xml"/>
  <Override ContentType="application/vnd.openxmlformats-officedocument.presentationml.slide+xml" PartName="/ppt/slides/slide9.xml"/>
  <Override ContentType="application/vnd.openxmlformats-officedocument.presentationml.slide+xml" PartName="/ppt/slides/slide10.xml"/>
  <Override ContentType="application/vnd.openxmlformats-officedocument.presentationml.notesMaster+xml" PartName="/ppt/notesMasters/notesMaster1.xml"/>
  <Override ContentType="application/vnd.openxmlformats-officedocument.presentationml.handoutMaster+xml" PartName="/ppt/handoutMasters/handoutMaster1.xml"/>
  <Override ContentType="application/vnd.openxmlformats-officedocument.presentationml.tags+xml" PartName="/ppt/tags/tag1.xml"/>
  <Override ContentType="application/vnd.openxmlformats-officedocument.presentationml.presProps+xml" PartName="/ppt/presProps.xml"/>
  <Override ContentType="application/vnd.openxmlformats-officedocument.presentationml.viewProps+xml" PartName="/ppt/viewProps.xml"/>
  <Override ContentType="application/vnd.openxmlformats-officedocument.theme+xml" PartName="/ppt/theme/theme1.xml"/>
  <Override ContentType="application/vnd.openxmlformats-officedocument.presentationml.tableStyles+xml" PartName="/ppt/tableStyles.xml"/>
  <Override ContentType="application/vnd.openxmlformats-officedocument.presentationml.slideLayout+xml" PartName="/ppt/slideLayouts/slideLayout1.xml"/>
  <Override ContentType="application/vnd.openxmlformats-officedocument.presentationml.slideLayout+xml" PartName="/ppt/slideLayouts/slideLayout2.xml"/>
  <Override ContentType="application/vnd.openxmlformats-officedocument.presentationml.slideLayout+xml" PartName="/ppt/slideLayouts/slideLayout3.xml"/>
  <Override ContentType="application/vnd.openxmlformats-officedocument.presentationml.slideLayout+xml" PartName="/ppt/slideLayouts/slideLayout4.xml"/>
  <Override ContentType="application/vnd.openxmlformats-officedocument.presentationml.slideLayout+xml" PartName="/ppt/slideLayouts/slideLayout5.xml"/>
  <Override ContentType="application/vnd.openxmlformats-officedocument.presentationml.slideLayout+xml" PartName="/ppt/slideLayouts/slideLayout6.xml"/>
  <Override ContentType="application/vnd.openxmlformats-officedocument.presentationml.slideLayout+xml" PartName="/ppt/slideLayouts/slideLayout7.xml"/>
  <Override ContentType="application/vnd.openxmlformats-officedocument.presentationml.slideLayout+xml" PartName="/ppt/slideLayouts/slideLayout8.xml"/>
  <Override ContentType="application/vnd.openxmlformats-officedocument.presentationml.slideLayout+xml" PartName="/ppt/slideLayouts/slideLayout9.xml"/>
  <Override ContentType="application/vnd.openxmlformats-officedocument.presentationml.slideLayout+xml" PartName="/ppt/slideLayouts/slideLayout10.xml"/>
  <Override ContentType="application/vnd.openxmlformats-officedocument.presentationml.slideLayout+xml" PartName="/ppt/slideLayouts/slideLayout11.xml"/>
  <Override ContentType="application/vnd.openxmlformats-officedocument.presentationml.slideLayout+xml" PartName="/ppt/slideLayouts/slideLayout12.xml"/>
  <Override ContentType="application/vnd.openxmlformats-officedocument.presentationml.slideLayout+xml" PartName="/ppt/slideLayouts/slideLayout13.xml"/>
  <Override ContentType="application/vnd.openxmlformats-officedocument.presentationml.slideLayout+xml" PartName="/ppt/slideLayouts/slideLayout14.xml"/>
  <Override ContentType="application/vnd.openxmlformats-officedocument.presentationml.slideLayout+xml" PartName="/ppt/slideLayouts/slideLayout15.xml"/>
  <Override ContentType="application/vnd.openxmlformats-officedocument.presentationml.tags+xml" PartName="/ppt/tags/tag2.xml"/>
  <Override ContentType="application/vnd.openxmlformats-officedocument.presentationml.tags+xml" PartName="/ppt/tags/tag3.xml"/>
  <Override ContentType="application/vnd.openxmlformats-officedocument.presentationml.tags+xml" PartName="/ppt/tags/tag4.xml"/>
  <Override ContentType="application/vnd.openxmlformats-officedocument.presentationml.tags+xml" PartName="/ppt/tags/tag5.xml"/>
  <Override ContentType="application/vnd.openxmlformats-officedocument.presentationml.tags+xml" PartName="/ppt/tags/tag6.xml"/>
  <Override ContentType="application/vnd.openxmlformats-officedocument.presentationml.tags+xml" PartName="/ppt/tags/tag7.xml"/>
  <Override ContentType="application/vnd.openxmlformats-officedocument.presentationml.tags+xml" PartName="/ppt/tags/tag8.xml"/>
  <Override ContentType="application/vnd.openxmlformats-officedocument.presentationml.tags+xml" PartName="/ppt/tags/tag9.xml"/>
  <Override ContentType="application/vnd.openxmlformats-officedocument.presentationml.tags+xml" PartName="/ppt/tags/tag10.xml"/>
  <Override ContentType="application/vnd.openxmlformats-officedocument.presentationml.tags+xml" PartName="/ppt/tags/tag11.xml"/>
  <Override ContentType="application/vnd.openxmlformats-officedocument.presentationml.tags+xml" PartName="/ppt/tags/tag12.xml"/>
  <Override ContentType="application/vnd.openxmlformats-officedocument.presentationml.tags+xml" PartName="/ppt/tags/tag13.xml"/>
  <Override ContentType="application/vnd.openxmlformats-officedocument.presentationml.tags+xml" PartName="/ppt/tags/tag14.xml"/>
  <Override ContentType="application/vnd.openxmlformats-officedocument.presentationml.tags+xml" PartName="/ppt/tags/tag15.xml"/>
  <Override ContentType="application/vnd.openxmlformats-officedocument.presentationml.tags+xml" PartName="/ppt/tags/tag16.xml"/>
  <Override ContentType="application/vnd.openxmlformats-officedocument.presentationml.tags+xml" PartName="/ppt/tags/tag17.xml"/>
  <Override ContentType="application/vnd.openxmlformats-officedocument.presentationml.tags+xml" PartName="/ppt/tags/tag18.xml"/>
  <Override ContentType="application/vnd.openxmlformats-officedocument.presentationml.tags+xml" PartName="/ppt/tags/tag19.xml"/>
  <Override ContentType="application/vnd.openxmlformats-officedocument.presentationml.tags+xml" PartName="/ppt/tags/tag20.xml"/>
  <Override ContentType="application/vnd.openxmlformats-officedocument.presentationml.tags+xml" PartName="/ppt/tags/tag21.xml"/>
  <Override ContentType="application/vnd.openxmlformats-officedocument.presentationml.tags+xml" PartName="/ppt/tags/tag22.xml"/>
  <Override ContentType="application/vnd.openxmlformats-officedocument.presentationml.tags+xml" PartName="/ppt/tags/tag23.xml"/>
  <Override ContentType="application/vnd.openxmlformats-officedocument.presentationml.tags+xml" PartName="/ppt/tags/tag24.xml"/>
  <Override ContentType="application/vnd.openxmlformats-officedocument.presentationml.tags+xml" PartName="/ppt/tags/tag25.xml"/>
  <Override ContentType="application/vnd.openxmlformats-officedocument.presentationml.tags+xml" PartName="/ppt/tags/tag26.xml"/>
  <Override ContentType="application/vnd.openxmlformats-officedocument.presentationml.tags+xml" PartName="/ppt/tags/tag27.xml"/>
  <Override ContentType="application/vnd.openxmlformats-officedocument.presentationml.tags+xml" PartName="/ppt/tags/tag28.xml"/>
  <Override ContentType="application/vnd.openxmlformats-officedocument.presentationml.tags+xml" PartName="/ppt/tags/tag29.xml"/>
  <Override ContentType="application/vnd.openxmlformats-officedocument.presentationml.slideLayout+xml" PartName="/ppt/slideLayouts/slideLayout16.xml"/>
  <Override ContentType="application/vnd.openxmlformats-officedocument.presentationml.slideLayout+xml" PartName="/ppt/slideLayouts/slideLayout17.xml"/>
  <Override ContentType="application/vnd.openxmlformats-officedocument.presentationml.slideLayout+xml" PartName="/ppt/slideLayouts/slideLayout18.xml"/>
  <Override ContentType="application/vnd.openxmlformats-officedocument.presentationml.slideLayout+xml" PartName="/ppt/slideLayouts/slideLayout19.xml"/>
  <Override ContentType="application/vnd.openxmlformats-officedocument.presentationml.slideLayout+xml" PartName="/ppt/slideLayouts/slideLayout20.xml"/>
  <Override ContentType="application/vnd.openxmlformats-officedocument.presentationml.slideLayout+xml" PartName="/ppt/slideLayouts/slideLayout21.xml"/>
  <Override ContentType="application/vnd.openxmlformats-officedocument.presentationml.slideLayout+xml" PartName="/ppt/slideLayouts/slideLayout22.xml"/>
  <Override ContentType="application/vnd.openxmlformats-officedocument.presentationml.slideLayout+xml" PartName="/ppt/slideLayouts/slideLayout23.xml"/>
  <Override ContentType="application/vnd.openxmlformats-officedocument.presentationml.slideLayout+xml" PartName="/ppt/slideLayouts/slideLayout24.xml"/>
  <Override ContentType="application/vnd.openxmlformats-officedocument.presentationml.slideLayout+xml" PartName="/ppt/slideLayouts/slideLayout25.xml"/>
  <Override ContentType="application/vnd.openxmlformats-officedocument.presentationml.slideLayout+xml" PartName="/ppt/slideLayouts/slideLayout26.xml"/>
  <Override ContentType="application/vnd.openxmlformats-officedocument.presentationml.slideLayout+xml" PartName="/ppt/slideLayouts/slideLayout27.xml"/>
  <Override ContentType="application/vnd.openxmlformats-officedocument.presentationml.slideLayout+xml" PartName="/ppt/slideLayouts/slideLayout28.xml"/>
  <Override ContentType="application/vnd.openxmlformats-officedocument.presentationml.slideLayout+xml" PartName="/ppt/slideLayouts/slideLayout29.xml"/>
  <Override ContentType="application/vnd.openxmlformats-officedocument.theme+xml" PartName="/ppt/theme/theme2.xml"/>
  <Override ContentType="application/vnd.openxmlformats-officedocument.presentationml.tags+xml" PartName="/ppt/tags/tag30.xml"/>
  <Override ContentType="application/vnd.openxmlformats-officedocument.presentationml.tags+xml" PartName="/ppt/tags/tag31.xml"/>
  <Override ContentType="application/vnd.openxmlformats-officedocument.presentationml.tags+xml" PartName="/ppt/tags/tag32.xml"/>
  <Override ContentType="application/vnd.openxmlformats-officedocument.presentationml.tags+xml" PartName="/ppt/tags/tag33.xml"/>
  <Override ContentType="application/vnd.openxmlformats-officedocument.presentationml.tags+xml" PartName="/ppt/tags/tag34.xml"/>
  <Override ContentType="application/vnd.openxmlformats-officedocument.presentationml.tags+xml" PartName="/ppt/tags/tag35.xml"/>
  <Override ContentType="application/vnd.openxmlformats-officedocument.presentationml.tags+xml" PartName="/ppt/tags/tag36.xml"/>
  <Override ContentType="application/vnd.openxmlformats-officedocument.presentationml.tags+xml" PartName="/ppt/tags/tag37.xml"/>
  <Override ContentType="application/vnd.openxmlformats-officedocument.presentationml.tags+xml" PartName="/ppt/tags/tag38.xml"/>
  <Override ContentType="application/vnd.openxmlformats-officedocument.presentationml.tags+xml" PartName="/ppt/tags/tag39.xml"/>
  <Override ContentType="application/vnd.openxmlformats-officedocument.presentationml.tags+xml" PartName="/ppt/tags/tag40.xml"/>
  <Override ContentType="application/vnd.openxmlformats-officedocument.presentationml.tags+xml" PartName="/ppt/tags/tag41.xml"/>
  <Override ContentType="application/vnd.openxmlformats-officedocument.presentationml.tags+xml" PartName="/ppt/tags/tag42.xml"/>
  <Override ContentType="application/vnd.openxmlformats-officedocument.presentationml.tags+xml" PartName="/ppt/tags/tag43.xml"/>
  <Override ContentType="application/vnd.openxmlformats-officedocument.presentationml.tags+xml" PartName="/ppt/tags/tag44.xml"/>
  <Override ContentType="application/vnd.openxmlformats-officedocument.presentationml.tags+xml" PartName="/ppt/tags/tag45.xml"/>
  <Override ContentType="application/vnd.openxmlformats-officedocument.presentationml.tags+xml" PartName="/ppt/tags/tag46.xml"/>
  <Override ContentType="application/vnd.openxmlformats-officedocument.presentationml.tags+xml" PartName="/ppt/tags/tag47.xml"/>
  <Override ContentType="application/vnd.openxmlformats-officedocument.presentationml.tags+xml" PartName="/ppt/tags/tag48.xml"/>
  <Override ContentType="application/vnd.openxmlformats-officedocument.presentationml.tags+xml" PartName="/ppt/tags/tag49.xml"/>
  <Override ContentType="application/vnd.openxmlformats-officedocument.presentationml.tags+xml" PartName="/ppt/tags/tag50.xml"/>
  <Override ContentType="application/vnd.openxmlformats-officedocument.presentationml.tags+xml" PartName="/ppt/tags/tag51.xml"/>
  <Override ContentType="application/vnd.openxmlformats-officedocument.presentationml.tags+xml" PartName="/ppt/tags/tag52.xml"/>
  <Override ContentType="application/vnd.openxmlformats-officedocument.presentationml.tags+xml" PartName="/ppt/tags/tag53.xml"/>
  <Override ContentType="application/vnd.openxmlformats-officedocument.presentationml.tags+xml" PartName="/ppt/tags/tag54.xml"/>
  <Override ContentType="application/vnd.openxmlformats-officedocument.presentationml.tags+xml" PartName="/ppt/tags/tag55.xml"/>
  <Override ContentType="application/vnd.openxmlformats-officedocument.presentationml.tags+xml" PartName="/ppt/tags/tag56.xml"/>
  <Override ContentType="application/vnd.openxmlformats-officedocument.presentationml.tags+xml" PartName="/ppt/tags/tag57.xml"/>
  <Override ContentType="application/vnd.openxmlformats-officedocument.presentationml.slideLayout+xml" PartName="/ppt/slideLayouts/slideLayout30.xml"/>
  <Override ContentType="application/vnd.openxmlformats-officedocument.presentationml.slideLayout+xml" PartName="/ppt/slideLayouts/slideLayout31.xml"/>
  <Override ContentType="application/vnd.openxmlformats-officedocument.presentationml.slideLayout+xml" PartName="/ppt/slideLayouts/slideLayout32.xml"/>
  <Override ContentType="application/vnd.openxmlformats-officedocument.presentationml.slideLayout+xml" PartName="/ppt/slideLayouts/slideLayout33.xml"/>
  <Override ContentType="application/vnd.openxmlformats-officedocument.presentationml.slideLayout+xml" PartName="/ppt/slideLayouts/slideLayout34.xml"/>
  <Override ContentType="application/vnd.openxmlformats-officedocument.presentationml.slideLayout+xml" PartName="/ppt/slideLayouts/slideLayout35.xml"/>
  <Override ContentType="application/vnd.openxmlformats-officedocument.presentationml.slideLayout+xml" PartName="/ppt/slideLayouts/slideLayout36.xml"/>
  <Override ContentType="application/vnd.openxmlformats-officedocument.presentationml.slideLayout+xml" PartName="/ppt/slideLayouts/slideLayout37.xml"/>
  <Override ContentType="application/vnd.openxmlformats-officedocument.presentationml.slideLayout+xml" PartName="/ppt/slideLayouts/slideLayout38.xml"/>
  <Override ContentType="application/vnd.openxmlformats-officedocument.presentationml.slideLayout+xml" PartName="/ppt/slideLayouts/slideLayout39.xml"/>
  <Override ContentType="application/vnd.openxmlformats-officedocument.presentationml.slideLayout+xml" PartName="/ppt/slideLayouts/slideLayout40.xml"/>
  <Override ContentType="application/vnd.openxmlformats-officedocument.presentationml.slideLayout+xml" PartName="/ppt/slideLayouts/slideLayout41.xml"/>
  <Override ContentType="application/vnd.openxmlformats-officedocument.presentationml.slideLayout+xml" PartName="/ppt/slideLayouts/slideLayout42.xml"/>
  <Override ContentType="application/vnd.openxmlformats-officedocument.presentationml.slideLayout+xml" PartName="/ppt/slideLayouts/slideLayout43.xml"/>
  <Override ContentType="application/vnd.openxmlformats-officedocument.theme+xml" PartName="/ppt/theme/theme3.xml"/>
  <Override ContentType="application/vnd.openxmlformats-officedocument.presentationml.tags+xml" PartName="/ppt/tags/tag58.xml"/>
  <Override ContentType="application/vnd.openxmlformats-officedocument.presentationml.tags+xml" PartName="/ppt/tags/tag59.xml"/>
  <Override ContentType="application/vnd.openxmlformats-officedocument.presentationml.tags+xml" PartName="/ppt/tags/tag60.xml"/>
  <Override ContentType="application/vnd.openxmlformats-officedocument.presentationml.tags+xml" PartName="/ppt/tags/tag61.xml"/>
  <Override ContentType="application/vnd.openxmlformats-officedocument.presentationml.tags+xml" PartName="/ppt/tags/tag62.xml"/>
  <Override ContentType="application/vnd.openxmlformats-officedocument.presentationml.tags+xml" PartName="/ppt/tags/tag63.xml"/>
  <Override ContentType="application/vnd.openxmlformats-officedocument.presentationml.tags+xml" PartName="/ppt/tags/tag64.xml"/>
  <Override ContentType="application/vnd.openxmlformats-officedocument.presentationml.tags+xml" PartName="/ppt/tags/tag65.xml"/>
  <Override ContentType="application/vnd.openxmlformats-officedocument.presentationml.tags+xml" PartName="/ppt/tags/tag66.xml"/>
  <Override ContentType="application/vnd.openxmlformats-officedocument.presentationml.tags+xml" PartName="/ppt/tags/tag67.xml"/>
  <Override ContentType="application/vnd.openxmlformats-officedocument.presentationml.tags+xml" PartName="/ppt/tags/tag68.xml"/>
  <Override ContentType="application/vnd.openxmlformats-officedocument.presentationml.tags+xml" PartName="/ppt/tags/tag69.xml"/>
  <Override ContentType="application/vnd.openxmlformats-officedocument.presentationml.tags+xml" PartName="/ppt/tags/tag70.xml"/>
  <Override ContentType="application/vnd.openxmlformats-officedocument.presentationml.tags+xml" PartName="/ppt/tags/tag71.xml"/>
  <Override ContentType="application/vnd.openxmlformats-officedocument.presentationml.tags+xml" PartName="/ppt/tags/tag72.xml"/>
  <Override ContentType="application/vnd.openxmlformats-officedocument.presentationml.tags+xml" PartName="/ppt/tags/tag73.xml"/>
  <Override ContentType="application/vnd.openxmlformats-officedocument.presentationml.tags+xml" PartName="/ppt/tags/tag74.xml"/>
  <Override ContentType="application/vnd.openxmlformats-officedocument.presentationml.tags+xml" PartName="/ppt/tags/tag75.xml"/>
  <Override ContentType="application/vnd.openxmlformats-officedocument.presentationml.tags+xml" PartName="/ppt/tags/tag76.xml"/>
  <Override ContentType="application/vnd.openxmlformats-officedocument.presentationml.tags+xml" PartName="/ppt/tags/tag77.xml"/>
  <Override ContentType="application/vnd.openxmlformats-officedocument.presentationml.tags+xml" PartName="/ppt/tags/tag78.xml"/>
  <Override ContentType="application/vnd.openxmlformats-officedocument.presentationml.tags+xml" PartName="/ppt/tags/tag79.xml"/>
  <Override ContentType="application/vnd.openxmlformats-officedocument.presentationml.tags+xml" PartName="/ppt/tags/tag80.xml"/>
  <Override ContentType="application/vnd.openxmlformats-officedocument.presentationml.tags+xml" PartName="/ppt/tags/tag81.xml"/>
  <Override ContentType="application/vnd.openxmlformats-officedocument.presentationml.tags+xml" PartName="/ppt/tags/tag82.xml"/>
  <Override ContentType="application/vnd.openxmlformats-officedocument.presentationml.tags+xml" PartName="/ppt/tags/tag83.xml"/>
  <Override ContentType="application/vnd.openxmlformats-officedocument.presentationml.tags+xml" PartName="/ppt/tags/tag84.xml"/>
  <Override ContentType="application/vnd.openxmlformats-officedocument.presentationml.tags+xml" PartName="/ppt/tags/tag85.xml"/>
  <Override ContentType="application/vnd.openxmlformats-officedocument.presentationml.slideLayout+xml" PartName="/ppt/slideLayouts/slideLayout44.xml"/>
  <Override ContentType="application/vnd.openxmlformats-officedocument.presentationml.slideLayout+xml" PartName="/ppt/slideLayouts/slideLayout45.xml"/>
  <Override ContentType="application/vnd.openxmlformats-officedocument.presentationml.slideLayout+xml" PartName="/ppt/slideLayouts/slideLayout46.xml"/>
  <Override ContentType="application/vnd.openxmlformats-officedocument.presentationml.slideLayout+xml" PartName="/ppt/slideLayouts/slideLayout47.xml"/>
  <Override ContentType="application/vnd.openxmlformats-officedocument.presentationml.slideLayout+xml" PartName="/ppt/slideLayouts/slideLayout48.xml"/>
  <Override ContentType="application/vnd.openxmlformats-officedocument.presentationml.slideLayout+xml" PartName="/ppt/slideLayouts/slideLayout49.xml"/>
  <Override ContentType="application/vnd.openxmlformats-officedocument.presentationml.slideLayout+xml" PartName="/ppt/slideLayouts/slideLayout50.xml"/>
  <Override ContentType="application/vnd.openxmlformats-officedocument.presentationml.slideLayout+xml" PartName="/ppt/slideLayouts/slideLayout51.xml"/>
  <Override ContentType="application/vnd.openxmlformats-officedocument.presentationml.slideLayout+xml" PartName="/ppt/slideLayouts/slideLayout52.xml"/>
  <Override ContentType="application/vnd.openxmlformats-officedocument.presentationml.slideLayout+xml" PartName="/ppt/slideLayouts/slideLayout53.xml"/>
  <Override ContentType="application/vnd.openxmlformats-officedocument.presentationml.slideLayout+xml" PartName="/ppt/slideLayouts/slideLayout54.xml"/>
  <Override ContentType="application/vnd.openxmlformats-officedocument.presentationml.slideLayout+xml" PartName="/ppt/slideLayouts/slideLayout55.xml"/>
  <Override ContentType="application/vnd.openxmlformats-officedocument.presentationml.slideLayout+xml" PartName="/ppt/slideLayouts/slideLayout56.xml"/>
  <Override ContentType="application/vnd.openxmlformats-officedocument.presentationml.slideLayout+xml" PartName="/ppt/slideLayouts/slideLayout57.xml"/>
  <Override ContentType="application/vnd.openxmlformats-officedocument.theme+xml" PartName="/ppt/theme/theme4.xml"/>
  <Override ContentType="application/vnd.openxmlformats-officedocument.presentationml.tags+xml" PartName="/ppt/tags/tag86.xml"/>
  <Override ContentType="application/vnd.openxmlformats-officedocument.presentationml.tags+xml" PartName="/ppt/tags/tag87.xml"/>
  <Override ContentType="application/vnd.openxmlformats-officedocument.presentationml.tags+xml" PartName="/ppt/tags/tag88.xml"/>
  <Override ContentType="application/vnd.openxmlformats-officedocument.presentationml.tags+xml" PartName="/ppt/tags/tag89.xml"/>
  <Override ContentType="application/vnd.openxmlformats-officedocument.presentationml.tags+xml" PartName="/ppt/tags/tag90.xml"/>
  <Override ContentType="application/vnd.openxmlformats-officedocument.presentationml.tags+xml" PartName="/ppt/tags/tag91.xml"/>
  <Override ContentType="application/vnd.openxmlformats-officedocument.presentationml.tags+xml" PartName="/ppt/tags/tag92.xml"/>
  <Override ContentType="application/vnd.openxmlformats-officedocument.presentationml.tags+xml" PartName="/ppt/tags/tag93.xml"/>
  <Override ContentType="application/vnd.openxmlformats-officedocument.presentationml.tags+xml" PartName="/ppt/tags/tag94.xml"/>
  <Override ContentType="application/vnd.openxmlformats-officedocument.presentationml.tags+xml" PartName="/ppt/tags/tag95.xml"/>
  <Override ContentType="application/vnd.openxmlformats-officedocument.presentationml.tags+xml" PartName="/ppt/tags/tag96.xml"/>
  <Override ContentType="application/vnd.openxmlformats-officedocument.presentationml.tags+xml" PartName="/ppt/tags/tag97.xml"/>
  <Override ContentType="application/vnd.openxmlformats-officedocument.presentationml.tags+xml" PartName="/ppt/tags/tag98.xml"/>
  <Override ContentType="application/vnd.openxmlformats-officedocument.presentationml.tags+xml" PartName="/ppt/tags/tag99.xml"/>
  <Override ContentType="application/vnd.openxmlformats-officedocument.presentationml.tags+xml" PartName="/ppt/tags/tag100.xml"/>
  <Override ContentType="application/vnd.openxmlformats-officedocument.presentationml.tags+xml" PartName="/ppt/tags/tag101.xml"/>
  <Override ContentType="application/vnd.openxmlformats-officedocument.presentationml.tags+xml" PartName="/ppt/tags/tag102.xml"/>
  <Override ContentType="application/vnd.openxmlformats-officedocument.presentationml.tags+xml" PartName="/ppt/tags/tag103.xml"/>
  <Override ContentType="application/vnd.openxmlformats-officedocument.presentationml.tags+xml" PartName="/ppt/tags/tag104.xml"/>
  <Override ContentType="application/vnd.openxmlformats-officedocument.presentationml.tags+xml" PartName="/ppt/tags/tag105.xml"/>
  <Override ContentType="application/vnd.openxmlformats-officedocument.presentationml.tags+xml" PartName="/ppt/tags/tag106.xml"/>
  <Override ContentType="application/vnd.openxmlformats-officedocument.presentationml.tags+xml" PartName="/ppt/tags/tag107.xml"/>
  <Override ContentType="application/vnd.openxmlformats-officedocument.presentationml.tags+xml" PartName="/ppt/tags/tag108.xml"/>
  <Override ContentType="application/vnd.openxmlformats-officedocument.presentationml.tags+xml" PartName="/ppt/tags/tag109.xml"/>
  <Override ContentType="application/vnd.openxmlformats-officedocument.presentationml.tags+xml" PartName="/ppt/tags/tag110.xml"/>
  <Override ContentType="application/vnd.openxmlformats-officedocument.presentationml.tags+xml" PartName="/ppt/tags/tag111.xml"/>
  <Override ContentType="application/vnd.openxmlformats-officedocument.presentationml.tags+xml" PartName="/ppt/tags/tag112.xml"/>
  <Override ContentType="application/vnd.openxmlformats-officedocument.presentationml.tags+xml" PartName="/ppt/tags/tag113.xml"/>
  <Override ContentType="application/vnd.openxmlformats-officedocument.presentationml.slideLayout+xml" PartName="/ppt/slideLayouts/slideLayout58.xml"/>
  <Override ContentType="application/vnd.openxmlformats-officedocument.presentationml.slideLayout+xml" PartName="/ppt/slideLayouts/slideLayout59.xml"/>
  <Override ContentType="application/vnd.openxmlformats-officedocument.presentationml.slideLayout+xml" PartName="/ppt/slideLayouts/slideLayout60.xml"/>
  <Override ContentType="application/vnd.openxmlformats-officedocument.presentationml.slideLayout+xml" PartName="/ppt/slideLayouts/slideLayout61.xml"/>
  <Override ContentType="application/vnd.openxmlformats-officedocument.presentationml.slideLayout+xml" PartName="/ppt/slideLayouts/slideLayout62.xml"/>
  <Override ContentType="application/vnd.openxmlformats-officedocument.presentationml.slideLayout+xml" PartName="/ppt/slideLayouts/slideLayout63.xml"/>
  <Override ContentType="application/vnd.openxmlformats-officedocument.presentationml.slideLayout+xml" PartName="/ppt/slideLayouts/slideLayout64.xml"/>
  <Override ContentType="application/vnd.openxmlformats-officedocument.presentationml.slideLayout+xml" PartName="/ppt/slideLayouts/slideLayout65.xml"/>
  <Override ContentType="application/vnd.openxmlformats-officedocument.presentationml.slideLayout+xml" PartName="/ppt/slideLayouts/slideLayout66.xml"/>
  <Override ContentType="application/vnd.openxmlformats-officedocument.presentationml.slideLayout+xml" PartName="/ppt/slideLayouts/slideLayout67.xml"/>
  <Override ContentType="application/vnd.openxmlformats-officedocument.presentationml.slideLayout+xml" PartName="/ppt/slideLayouts/slideLayout68.xml"/>
  <Override ContentType="application/vnd.openxmlformats-officedocument.presentationml.slideLayout+xml" PartName="/ppt/slideLayouts/slideLayout69.xml"/>
  <Override ContentType="application/vnd.openxmlformats-officedocument.presentationml.slideLayout+xml" PartName="/ppt/slideLayouts/slideLayout70.xml"/>
  <Override ContentType="application/vnd.openxmlformats-officedocument.presentationml.slideLayout+xml" PartName="/ppt/slideLayouts/slideLayout71.xml"/>
  <Override ContentType="application/vnd.openxmlformats-officedocument.theme+xml" PartName="/ppt/theme/theme5.xml"/>
  <Override ContentType="application/vnd.openxmlformats-officedocument.presentationml.tags+xml" PartName="/ppt/tags/tag114.xml"/>
  <Override ContentType="application/vnd.openxmlformats-officedocument.presentationml.tags+xml" PartName="/ppt/tags/tag115.xml"/>
  <Override ContentType="application/vnd.openxmlformats-officedocument.presentationml.tags+xml" PartName="/ppt/tags/tag116.xml"/>
  <Override ContentType="application/vnd.openxmlformats-officedocument.presentationml.tags+xml" PartName="/ppt/tags/tag117.xml"/>
  <Override ContentType="application/vnd.openxmlformats-officedocument.presentationml.tags+xml" PartName="/ppt/tags/tag118.xml"/>
  <Override ContentType="application/vnd.openxmlformats-officedocument.presentationml.tags+xml" PartName="/ppt/tags/tag119.xml"/>
  <Override ContentType="application/vnd.openxmlformats-officedocument.presentationml.tags+xml" PartName="/ppt/tags/tag120.xml"/>
  <Override ContentType="application/vnd.openxmlformats-officedocument.presentationml.tags+xml" PartName="/ppt/tags/tag121.xml"/>
  <Override ContentType="application/vnd.openxmlformats-officedocument.presentationml.tags+xml" PartName="/ppt/tags/tag122.xml"/>
  <Override ContentType="application/vnd.openxmlformats-officedocument.presentationml.tags+xml" PartName="/ppt/tags/tag123.xml"/>
  <Override ContentType="application/vnd.openxmlformats-officedocument.presentationml.tags+xml" PartName="/ppt/tags/tag124.xml"/>
  <Override ContentType="application/vnd.openxmlformats-officedocument.presentationml.tags+xml" PartName="/ppt/tags/tag125.xml"/>
  <Override ContentType="application/vnd.openxmlformats-officedocument.presentationml.tags+xml" PartName="/ppt/tags/tag126.xml"/>
  <Override ContentType="application/vnd.openxmlformats-officedocument.presentationml.tags+xml" PartName="/ppt/tags/tag127.xml"/>
  <Override ContentType="application/vnd.openxmlformats-officedocument.presentationml.tags+xml" PartName="/ppt/tags/tag128.xml"/>
  <Override ContentType="application/vnd.openxmlformats-officedocument.presentationml.tags+xml" PartName="/ppt/tags/tag129.xml"/>
  <Override ContentType="application/vnd.openxmlformats-officedocument.presentationml.tags+xml" PartName="/ppt/tags/tag130.xml"/>
  <Override ContentType="application/vnd.openxmlformats-officedocument.presentationml.tags+xml" PartName="/ppt/tags/tag131.xml"/>
  <Override ContentType="application/vnd.openxmlformats-officedocument.presentationml.tags+xml" PartName="/ppt/tags/tag132.xml"/>
  <Override ContentType="application/vnd.openxmlformats-officedocument.presentationml.tags+xml" PartName="/ppt/tags/tag133.xml"/>
  <Override ContentType="application/vnd.openxmlformats-officedocument.presentationml.tags+xml" PartName="/ppt/tags/tag134.xml"/>
  <Override ContentType="application/vnd.openxmlformats-officedocument.presentationml.tags+xml" PartName="/ppt/tags/tag135.xml"/>
  <Override ContentType="application/vnd.openxmlformats-officedocument.presentationml.tags+xml" PartName="/ppt/tags/tag136.xml"/>
  <Override ContentType="application/vnd.openxmlformats-officedocument.presentationml.tags+xml" PartName="/ppt/tags/tag137.xml"/>
  <Override ContentType="application/vnd.openxmlformats-officedocument.presentationml.tags+xml" PartName="/ppt/tags/tag138.xml"/>
  <Override ContentType="application/vnd.openxmlformats-officedocument.presentationml.tags+xml" PartName="/ppt/tags/tag139.xml"/>
  <Override ContentType="application/vnd.openxmlformats-officedocument.presentationml.tags+xml" PartName="/ppt/tags/tag140.xml"/>
  <Override ContentType="application/vnd.openxmlformats-officedocument.presentationml.tags+xml" PartName="/ppt/tags/tag141.xml"/>
  <Override ContentType="application/vnd.openxmlformats-officedocument.theme+xml" PartName="/ppt/theme/theme6.xml"/>
  <Override ContentType="application/vnd.openxmlformats-officedocument.theme+xml" PartName="/ppt/theme/theme7.xml"/>
  <Override ContentType="application/vnd.openxmlformats-package.core-properties+xml" PartName="/docProps/core.xml"/>
  <Override ContentType="application/vnd.openxmlformats-officedocument.extended-properties+xml" PartName="/docProps/app.xml"/>
  <Override ContentType="application/vnd.openxmlformats-officedocument.custom-properties+xml" PartName="/docProps/custom.xml"/>
</Types>
</file>

<file path=_rels/.rels><?xml version="1.0" encoding="UTF-8" standalone="yes" ?><Relationships xmlns="http://schemas.openxmlformats.org/package/2006/relationships"><Relationship Id="rId3" Target="docProps/core.xml" Type="http://schemas.openxmlformats.org/package/2006/relationships/metadata/core-properties"/><Relationship Id="rId2" Target="docProps/thumbnail.jpeg" Type="http://schemas.openxmlformats.org/package/2006/relationships/metadata/thumbnail"/><Relationship Id="rId1" Target="ppt/presentation.xml" Type="http://schemas.openxmlformats.org/officeDocument/2006/relationships/officeDocument"/><Relationship Id="rId4" Target="docProps/app.xml" Type="http://schemas.openxmlformats.org/officeDocument/2006/relationships/extended-properties"/><Relationship Id="rId5" Target="docProps/custom.xml" Type="http://schemas.openxmlformats.org/officeDocument/2006/relationships/custom-properties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1"/>
    <p:sldMasterId id="2147483768" r:id="rId2"/>
    <p:sldMasterId id="2147483783" r:id="rId3"/>
    <p:sldMasterId id="2147483798" r:id="rId4"/>
    <p:sldMasterId id="2147483813" r:id="rId5"/>
  </p:sldMasterIdLst>
  <p:notesMasterIdLst>
    <p:notesMasterId r:id="rId16"/>
  </p:notesMasterIdLst>
  <p:handoutMasterIdLst>
    <p:handoutMasterId r:id="rId17"/>
  </p:handoutMasterIdLst>
  <p:sldIdLst>
    <p:sldId id="846" r:id="rId6"/>
    <p:sldId id="840" r:id="rId7"/>
    <p:sldId id="841" r:id="rId8"/>
    <p:sldId id="842" r:id="rId9"/>
    <p:sldId id="843" r:id="rId10"/>
    <p:sldId id="844" r:id="rId11"/>
    <p:sldId id="845" r:id="rId12"/>
    <p:sldId id="847" r:id="rId13"/>
    <p:sldId id="848" r:id="rId14"/>
    <p:sldId id="849" r:id="rId15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622">
          <p15:clr>
            <a:srgbClr val="A4A3A4"/>
          </p15:clr>
        </p15:guide>
        <p15:guide id="2" orient="horz" pos="1025">
          <p15:clr>
            <a:srgbClr val="A4A3A4"/>
          </p15:clr>
        </p15:guide>
        <p15:guide id="3" orient="horz" pos="2985">
          <p15:clr>
            <a:srgbClr val="A4A3A4"/>
          </p15:clr>
        </p15:guide>
        <p15:guide id="4" orient="horz" pos="1679">
          <p15:clr>
            <a:srgbClr val="A4A3A4"/>
          </p15:clr>
        </p15:guide>
        <p15:guide id="5" orient="horz" pos="2341">
          <p15:clr>
            <a:srgbClr val="A4A3A4"/>
          </p15:clr>
        </p15:guide>
        <p15:guide id="6" pos="43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E22"/>
    <a:srgbClr val="FCECE7"/>
    <a:srgbClr val="A9FB93"/>
    <a:srgbClr val="797600"/>
    <a:srgbClr val="FBFBFB"/>
    <a:srgbClr val="BFBD00"/>
    <a:srgbClr val="004A12"/>
    <a:srgbClr val="00D633"/>
    <a:srgbClr val="93FFAD"/>
    <a:srgbClr val="00BC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Светлый стиль 1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8B1032C-EA38-4F05-BA0D-38AFFFC7BED3}" styleName="Светлый стиль 3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DCAF9ED-07DC-4A11-8D7F-57B35C25682E}" styleName="Средний стиль 1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2833802-FEF1-4C79-8D5D-14CF1EAF98D9}" styleName="Светлый стиль 2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662" autoAdjust="0"/>
    <p:restoredTop sz="94651" autoAdjust="0"/>
  </p:normalViewPr>
  <p:slideViewPr>
    <p:cSldViewPr snapToGrid="0" showGuides="1">
      <p:cViewPr>
        <p:scale>
          <a:sx n="100" d="100"/>
          <a:sy n="100" d="100"/>
        </p:scale>
        <p:origin x="-384" y="-72"/>
      </p:cViewPr>
      <p:guideLst>
        <p:guide orient="horz" pos="3622"/>
        <p:guide orient="horz" pos="1025"/>
        <p:guide orient="horz" pos="2985"/>
        <p:guide orient="horz" pos="1679"/>
        <p:guide orient="horz" pos="2341"/>
        <p:guide pos="43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5" d="100"/>
          <a:sy n="85" d="100"/>
        </p:scale>
        <p:origin x="3804" y="84"/>
      </p:cViewPr>
      <p:guideLst/>
    </p:cSldViewPr>
  </p:notesViewPr>
  <p:gridSpacing cx="59999" cy="59999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xmlns="" id="{3F120042-DE19-4A60-A65E-D372A0AD7D6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15D589F5-B5B1-4C39-AF4D-B7FD66FF2E0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94F38C-7FED-4B93-A934-AE2D2B1F54F8}" type="datetimeFigureOut">
              <a:rPr lang="ru-RU" smtClean="0"/>
              <a:t>02.11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FE87EA78-F1EE-447D-BF02-8591EAF5923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48B45A96-9915-40E5-8CA7-93EBEEC7150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521E4C-C986-4718-9D9E-614AF5FF58C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58920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62F4B1-53BF-4CEB-935B-B85CBB7C7FFD}" type="datetimeFigureOut">
              <a:rPr lang="ru-RU" smtClean="0"/>
              <a:t>02.11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865938-7C47-44BA-8EE7-44C4AA1CFE0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2511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tags/tag5.xml" Type="http://schemas.openxmlformats.org/officeDocument/2006/relationships/tags"/><Relationship Id="rId7" Target="../media/image3.jpeg" Type="http://schemas.openxmlformats.org/officeDocument/2006/relationships/image"/><Relationship Id="rId2" Target="../tags/tag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10.xml.rels><?xml version="1.0" encoding="UTF-8" standalone="yes" ?><Relationships xmlns="http://schemas.openxmlformats.org/package/2006/relationships"><Relationship Id="rId3" Target="../tags/tag21.xml" Type="http://schemas.openxmlformats.org/officeDocument/2006/relationships/tags"/><Relationship Id="rId2" Target="../tags/tag2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11.xml.rels><?xml version="1.0" encoding="UTF-8" standalone="yes" ?><Relationships xmlns="http://schemas.openxmlformats.org/package/2006/relationships"><Relationship Id="rId3" Target="../tags/tag23.xml" Type="http://schemas.openxmlformats.org/officeDocument/2006/relationships/tags"/><Relationship Id="rId2" Target="../tags/tag2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12.xml.rels><?xml version="1.0" encoding="UTF-8" standalone="yes" ?><Relationships xmlns="http://schemas.openxmlformats.org/package/2006/relationships"><Relationship Id="rId3" Target="../tags/tag25.xml" Type="http://schemas.openxmlformats.org/officeDocument/2006/relationships/tags"/><Relationship Id="rId2" Target="../tags/tag2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13.xml.rels><?xml version="1.0" encoding="UTF-8" standalone="yes" ?><Relationships xmlns="http://schemas.openxmlformats.org/package/2006/relationships"><Relationship Id="rId3" Target="../tags/tag27.xml" Type="http://schemas.openxmlformats.org/officeDocument/2006/relationships/tags"/><Relationship Id="rId2" Target="../tags/tag2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14.xml.rels><?xml version="1.0" encoding="UTF-8" standalone="yes" ?><Relationships xmlns="http://schemas.openxmlformats.org/package/2006/relationships"><Relationship Id="rId3" Target="../tags/tag29.xml" Type="http://schemas.openxmlformats.org/officeDocument/2006/relationships/tags"/><Relationship Id="rId2" Target="../tags/tag2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tags/tag33.xml" Type="http://schemas.openxmlformats.org/officeDocument/2006/relationships/tags"/><Relationship Id="rId7" Target="../media/image3.jpeg" Type="http://schemas.openxmlformats.org/officeDocument/2006/relationships/image"/><Relationship Id="rId2" Target="../tags/tag3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17.xml.rels><?xml version="1.0" encoding="UTF-8" standalone="yes" ?><Relationships xmlns="http://schemas.openxmlformats.org/package/2006/relationships"><Relationship Id="rId3" Target="../slideMasters/slideMaster2.xml" Type="http://schemas.openxmlformats.org/officeDocument/2006/relationships/slideMaster"/><Relationship Id="rId7" Target="../media/image4.png" Type="http://schemas.openxmlformats.org/officeDocument/2006/relationships/image"/><Relationship Id="rId2" Target="../tags/tag34.xml" Type="http://schemas.openxmlformats.org/officeDocument/2006/relationships/tags"/><Relationship Id="rId6" Target="../media/image5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18.xml.rels><?xml version="1.0" encoding="UTF-8" standalone="yes" ?><Relationships xmlns="http://schemas.openxmlformats.org/package/2006/relationships"><Relationship Id="rId3" Target="../slideMasters/slideMaster2.xml" Type="http://schemas.openxmlformats.org/officeDocument/2006/relationships/slideMaster"/><Relationship Id="rId7" Target="../media/image4.png" Type="http://schemas.openxmlformats.org/officeDocument/2006/relationships/image"/><Relationship Id="rId2" Target="../tags/tag35.xml" Type="http://schemas.openxmlformats.org/officeDocument/2006/relationships/tags"/><Relationship Id="rId6" Target="../media/image6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19.xml.rels><?xml version="1.0" encoding="UTF-8" standalone="yes" ?><Relationships xmlns="http://schemas.openxmlformats.org/package/2006/relationships"><Relationship Id="rId3" Target="../tags/tag37.xml" Type="http://schemas.openxmlformats.org/officeDocument/2006/relationships/tags"/><Relationship Id="rId2" Target="../tags/tag3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.xml.rels><?xml version="1.0" encoding="UTF-8" standalone="yes" ?><Relationships xmlns="http://schemas.openxmlformats.org/package/2006/relationships"><Relationship Id="rId3" Target="../slideMasters/slideMaster1.xml" Type="http://schemas.openxmlformats.org/officeDocument/2006/relationships/slideMaster"/><Relationship Id="rId7" Target="../media/image4.png" Type="http://schemas.openxmlformats.org/officeDocument/2006/relationships/image"/><Relationship Id="rId2" Target="../tags/tag6.xml" Type="http://schemas.openxmlformats.org/officeDocument/2006/relationships/tags"/><Relationship Id="rId6" Target="../media/image5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20.xml.rels><?xml version="1.0" encoding="UTF-8" standalone="yes" ?><Relationships xmlns="http://schemas.openxmlformats.org/package/2006/relationships"><Relationship Id="rId3" Target="../tags/tag39.xml" Type="http://schemas.openxmlformats.org/officeDocument/2006/relationships/tags"/><Relationship Id="rId2" Target="../tags/tag3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1.xml.rels><?xml version="1.0" encoding="UTF-8" standalone="yes" ?><Relationships xmlns="http://schemas.openxmlformats.org/package/2006/relationships"><Relationship Id="rId3" Target="../tags/tag41.xml" Type="http://schemas.openxmlformats.org/officeDocument/2006/relationships/tags"/><Relationship Id="rId2" Target="../tags/tag4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2.xml.rels><?xml version="1.0" encoding="UTF-8" standalone="yes" ?><Relationships xmlns="http://schemas.openxmlformats.org/package/2006/relationships"><Relationship Id="rId3" Target="../tags/tag43.xml" Type="http://schemas.openxmlformats.org/officeDocument/2006/relationships/tags"/><Relationship Id="rId2" Target="../tags/tag4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3.xml.rels><?xml version="1.0" encoding="UTF-8" standalone="yes" ?><Relationships xmlns="http://schemas.openxmlformats.org/package/2006/relationships"><Relationship Id="rId3" Target="../tags/tag45.xml" Type="http://schemas.openxmlformats.org/officeDocument/2006/relationships/tags"/><Relationship Id="rId2" Target="../tags/tag4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4.xml.rels><?xml version="1.0" encoding="UTF-8" standalone="yes" ?><Relationships xmlns="http://schemas.openxmlformats.org/package/2006/relationships"><Relationship Id="rId3" Target="../tags/tag47.xml" Type="http://schemas.openxmlformats.org/officeDocument/2006/relationships/tags"/><Relationship Id="rId2" Target="../tags/tag4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5.xml.rels><?xml version="1.0" encoding="UTF-8" standalone="yes" ?><Relationships xmlns="http://schemas.openxmlformats.org/package/2006/relationships"><Relationship Id="rId3" Target="../tags/tag49.xml" Type="http://schemas.openxmlformats.org/officeDocument/2006/relationships/tags"/><Relationship Id="rId2" Target="../tags/tag4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6.xml.rels><?xml version="1.0" encoding="UTF-8" standalone="yes" ?><Relationships xmlns="http://schemas.openxmlformats.org/package/2006/relationships"><Relationship Id="rId3" Target="../tags/tag51.xml" Type="http://schemas.openxmlformats.org/officeDocument/2006/relationships/tags"/><Relationship Id="rId2" Target="../tags/tag5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7.xml.rels><?xml version="1.0" encoding="UTF-8" standalone="yes" ?><Relationships xmlns="http://schemas.openxmlformats.org/package/2006/relationships"><Relationship Id="rId3" Target="../tags/tag53.xml" Type="http://schemas.openxmlformats.org/officeDocument/2006/relationships/tags"/><Relationship Id="rId2" Target="../tags/tag5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8.xml.rels><?xml version="1.0" encoding="UTF-8" standalone="yes" ?><Relationships xmlns="http://schemas.openxmlformats.org/package/2006/relationships"><Relationship Id="rId3" Target="../tags/tag55.xml" Type="http://schemas.openxmlformats.org/officeDocument/2006/relationships/tags"/><Relationship Id="rId2" Target="../tags/tag5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29.xml.rels><?xml version="1.0" encoding="UTF-8" standalone="yes" ?><Relationships xmlns="http://schemas.openxmlformats.org/package/2006/relationships"><Relationship Id="rId3" Target="../tags/tag57.xml" Type="http://schemas.openxmlformats.org/officeDocument/2006/relationships/tags"/><Relationship Id="rId2" Target="../tags/tag5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2.xml" Type="http://schemas.openxmlformats.org/officeDocument/2006/relationships/slideMaster"/></Relationships>
</file>

<file path=ppt/slideLayouts/_rels/slideLayout3.xml.rels><?xml version="1.0" encoding="UTF-8" standalone="yes" ?><Relationships xmlns="http://schemas.openxmlformats.org/package/2006/relationships"><Relationship Id="rId3" Target="../slideMasters/slideMaster1.xml" Type="http://schemas.openxmlformats.org/officeDocument/2006/relationships/slideMaster"/><Relationship Id="rId7" Target="../media/image4.png" Type="http://schemas.openxmlformats.org/officeDocument/2006/relationships/image"/><Relationship Id="rId2" Target="../tags/tag7.xml" Type="http://schemas.openxmlformats.org/officeDocument/2006/relationships/tags"/><Relationship Id="rId6" Target="../media/image6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30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tags/tag61.xml" Type="http://schemas.openxmlformats.org/officeDocument/2006/relationships/tags"/><Relationship Id="rId7" Target="../media/image3.jpeg" Type="http://schemas.openxmlformats.org/officeDocument/2006/relationships/image"/><Relationship Id="rId2" Target="../tags/tag6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1.xml.rels><?xml version="1.0" encoding="UTF-8" standalone="yes" ?><Relationships xmlns="http://schemas.openxmlformats.org/package/2006/relationships"><Relationship Id="rId3" Target="../slideMasters/slideMaster3.xml" Type="http://schemas.openxmlformats.org/officeDocument/2006/relationships/slideMaster"/><Relationship Id="rId7" Target="../media/image4.png" Type="http://schemas.openxmlformats.org/officeDocument/2006/relationships/image"/><Relationship Id="rId2" Target="../tags/tag62.xml" Type="http://schemas.openxmlformats.org/officeDocument/2006/relationships/tags"/><Relationship Id="rId6" Target="../media/image5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32.xml.rels><?xml version="1.0" encoding="UTF-8" standalone="yes" ?><Relationships xmlns="http://schemas.openxmlformats.org/package/2006/relationships"><Relationship Id="rId3" Target="../slideMasters/slideMaster3.xml" Type="http://schemas.openxmlformats.org/officeDocument/2006/relationships/slideMaster"/><Relationship Id="rId7" Target="../media/image4.png" Type="http://schemas.openxmlformats.org/officeDocument/2006/relationships/image"/><Relationship Id="rId2" Target="../tags/tag63.xml" Type="http://schemas.openxmlformats.org/officeDocument/2006/relationships/tags"/><Relationship Id="rId6" Target="../media/image6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33.xml.rels><?xml version="1.0" encoding="UTF-8" standalone="yes" ?><Relationships xmlns="http://schemas.openxmlformats.org/package/2006/relationships"><Relationship Id="rId3" Target="../tags/tag65.xml" Type="http://schemas.openxmlformats.org/officeDocument/2006/relationships/tags"/><Relationship Id="rId2" Target="../tags/tag6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4.xml.rels><?xml version="1.0" encoding="UTF-8" standalone="yes" ?><Relationships xmlns="http://schemas.openxmlformats.org/package/2006/relationships"><Relationship Id="rId3" Target="../tags/tag67.xml" Type="http://schemas.openxmlformats.org/officeDocument/2006/relationships/tags"/><Relationship Id="rId2" Target="../tags/tag6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5.xml.rels><?xml version="1.0" encoding="UTF-8" standalone="yes" ?><Relationships xmlns="http://schemas.openxmlformats.org/package/2006/relationships"><Relationship Id="rId3" Target="../tags/tag69.xml" Type="http://schemas.openxmlformats.org/officeDocument/2006/relationships/tags"/><Relationship Id="rId2" Target="../tags/tag6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6.xml.rels><?xml version="1.0" encoding="UTF-8" standalone="yes" ?><Relationships xmlns="http://schemas.openxmlformats.org/package/2006/relationships"><Relationship Id="rId3" Target="../tags/tag71.xml" Type="http://schemas.openxmlformats.org/officeDocument/2006/relationships/tags"/><Relationship Id="rId2" Target="../tags/tag7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7.xml.rels><?xml version="1.0" encoding="UTF-8" standalone="yes" ?><Relationships xmlns="http://schemas.openxmlformats.org/package/2006/relationships"><Relationship Id="rId3" Target="../tags/tag73.xml" Type="http://schemas.openxmlformats.org/officeDocument/2006/relationships/tags"/><Relationship Id="rId2" Target="../tags/tag7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8.xml.rels><?xml version="1.0" encoding="UTF-8" standalone="yes" ?><Relationships xmlns="http://schemas.openxmlformats.org/package/2006/relationships"><Relationship Id="rId3" Target="../tags/tag75.xml" Type="http://schemas.openxmlformats.org/officeDocument/2006/relationships/tags"/><Relationship Id="rId2" Target="../tags/tag7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39.xml.rels><?xml version="1.0" encoding="UTF-8" standalone="yes" ?><Relationships xmlns="http://schemas.openxmlformats.org/package/2006/relationships"><Relationship Id="rId3" Target="../tags/tag77.xml" Type="http://schemas.openxmlformats.org/officeDocument/2006/relationships/tags"/><Relationship Id="rId2" Target="../tags/tag7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4.xml.rels><?xml version="1.0" encoding="UTF-8" standalone="yes" ?><Relationships xmlns="http://schemas.openxmlformats.org/package/2006/relationships"><Relationship Id="rId3" Target="../tags/tag9.xml" Type="http://schemas.openxmlformats.org/officeDocument/2006/relationships/tags"/><Relationship Id="rId2" Target="../tags/tag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40.xml.rels><?xml version="1.0" encoding="UTF-8" standalone="yes" ?><Relationships xmlns="http://schemas.openxmlformats.org/package/2006/relationships"><Relationship Id="rId3" Target="../tags/tag79.xml" Type="http://schemas.openxmlformats.org/officeDocument/2006/relationships/tags"/><Relationship Id="rId2" Target="../tags/tag7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41.xml.rels><?xml version="1.0" encoding="UTF-8" standalone="yes" ?><Relationships xmlns="http://schemas.openxmlformats.org/package/2006/relationships"><Relationship Id="rId3" Target="../tags/tag81.xml" Type="http://schemas.openxmlformats.org/officeDocument/2006/relationships/tags"/><Relationship Id="rId2" Target="../tags/tag8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42.xml.rels><?xml version="1.0" encoding="UTF-8" standalone="yes" ?><Relationships xmlns="http://schemas.openxmlformats.org/package/2006/relationships"><Relationship Id="rId3" Target="../tags/tag83.xml" Type="http://schemas.openxmlformats.org/officeDocument/2006/relationships/tags"/><Relationship Id="rId2" Target="../tags/tag8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43.xml.rels><?xml version="1.0" encoding="UTF-8" standalone="yes" ?><Relationships xmlns="http://schemas.openxmlformats.org/package/2006/relationships"><Relationship Id="rId3" Target="../tags/tag85.xml" Type="http://schemas.openxmlformats.org/officeDocument/2006/relationships/tags"/><Relationship Id="rId2" Target="../tags/tag8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3.xml" Type="http://schemas.openxmlformats.org/officeDocument/2006/relationships/slideMaster"/></Relationships>
</file>

<file path=ppt/slideLayouts/_rels/slideLayout44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tags/tag89.xml" Type="http://schemas.openxmlformats.org/officeDocument/2006/relationships/tags"/><Relationship Id="rId7" Target="../media/image3.jpeg" Type="http://schemas.openxmlformats.org/officeDocument/2006/relationships/image"/><Relationship Id="rId2" Target="../tags/tag8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45.xml.rels><?xml version="1.0" encoding="UTF-8" standalone="yes" ?><Relationships xmlns="http://schemas.openxmlformats.org/package/2006/relationships"><Relationship Id="rId3" Target="../slideMasters/slideMaster4.xml" Type="http://schemas.openxmlformats.org/officeDocument/2006/relationships/slideMaster"/><Relationship Id="rId7" Target="../media/image4.png" Type="http://schemas.openxmlformats.org/officeDocument/2006/relationships/image"/><Relationship Id="rId2" Target="../tags/tag90.xml" Type="http://schemas.openxmlformats.org/officeDocument/2006/relationships/tags"/><Relationship Id="rId6" Target="../media/image5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46.xml.rels><?xml version="1.0" encoding="UTF-8" standalone="yes" ?><Relationships xmlns="http://schemas.openxmlformats.org/package/2006/relationships"><Relationship Id="rId3" Target="../slideMasters/slideMaster4.xml" Type="http://schemas.openxmlformats.org/officeDocument/2006/relationships/slideMaster"/><Relationship Id="rId7" Target="../media/image4.png" Type="http://schemas.openxmlformats.org/officeDocument/2006/relationships/image"/><Relationship Id="rId2" Target="../tags/tag91.xml" Type="http://schemas.openxmlformats.org/officeDocument/2006/relationships/tags"/><Relationship Id="rId6" Target="../media/image6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47.xml.rels><?xml version="1.0" encoding="UTF-8" standalone="yes" ?><Relationships xmlns="http://schemas.openxmlformats.org/package/2006/relationships"><Relationship Id="rId3" Target="../tags/tag93.xml" Type="http://schemas.openxmlformats.org/officeDocument/2006/relationships/tags"/><Relationship Id="rId2" Target="../tags/tag9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48.xml.rels><?xml version="1.0" encoding="UTF-8" standalone="yes" ?><Relationships xmlns="http://schemas.openxmlformats.org/package/2006/relationships"><Relationship Id="rId3" Target="../tags/tag95.xml" Type="http://schemas.openxmlformats.org/officeDocument/2006/relationships/tags"/><Relationship Id="rId2" Target="../tags/tag9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49.xml.rels><?xml version="1.0" encoding="UTF-8" standalone="yes" ?><Relationships xmlns="http://schemas.openxmlformats.org/package/2006/relationships"><Relationship Id="rId3" Target="../tags/tag97.xml" Type="http://schemas.openxmlformats.org/officeDocument/2006/relationships/tags"/><Relationship Id="rId2" Target="../tags/tag9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.xml.rels><?xml version="1.0" encoding="UTF-8" standalone="yes" ?><Relationships xmlns="http://schemas.openxmlformats.org/package/2006/relationships"><Relationship Id="rId3" Target="../tags/tag11.xml" Type="http://schemas.openxmlformats.org/officeDocument/2006/relationships/tags"/><Relationship Id="rId2" Target="../tags/tag1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50.xml.rels><?xml version="1.0" encoding="UTF-8" standalone="yes" ?><Relationships xmlns="http://schemas.openxmlformats.org/package/2006/relationships"><Relationship Id="rId3" Target="../tags/tag99.xml" Type="http://schemas.openxmlformats.org/officeDocument/2006/relationships/tags"/><Relationship Id="rId2" Target="../tags/tag9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1.xml.rels><?xml version="1.0" encoding="UTF-8" standalone="yes" ?><Relationships xmlns="http://schemas.openxmlformats.org/package/2006/relationships"><Relationship Id="rId3" Target="../tags/tag101.xml" Type="http://schemas.openxmlformats.org/officeDocument/2006/relationships/tags"/><Relationship Id="rId2" Target="../tags/tag10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2.xml.rels><?xml version="1.0" encoding="UTF-8" standalone="yes" ?><Relationships xmlns="http://schemas.openxmlformats.org/package/2006/relationships"><Relationship Id="rId3" Target="../tags/tag103.xml" Type="http://schemas.openxmlformats.org/officeDocument/2006/relationships/tags"/><Relationship Id="rId2" Target="../tags/tag10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3.xml.rels><?xml version="1.0" encoding="UTF-8" standalone="yes" ?><Relationships xmlns="http://schemas.openxmlformats.org/package/2006/relationships"><Relationship Id="rId3" Target="../tags/tag105.xml" Type="http://schemas.openxmlformats.org/officeDocument/2006/relationships/tags"/><Relationship Id="rId2" Target="../tags/tag10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4.xml.rels><?xml version="1.0" encoding="UTF-8" standalone="yes" ?><Relationships xmlns="http://schemas.openxmlformats.org/package/2006/relationships"><Relationship Id="rId3" Target="../tags/tag107.xml" Type="http://schemas.openxmlformats.org/officeDocument/2006/relationships/tags"/><Relationship Id="rId2" Target="../tags/tag10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5.xml.rels><?xml version="1.0" encoding="UTF-8" standalone="yes" ?><Relationships xmlns="http://schemas.openxmlformats.org/package/2006/relationships"><Relationship Id="rId3" Target="../tags/tag109.xml" Type="http://schemas.openxmlformats.org/officeDocument/2006/relationships/tags"/><Relationship Id="rId2" Target="../tags/tag10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6.xml.rels><?xml version="1.0" encoding="UTF-8" standalone="yes" ?><Relationships xmlns="http://schemas.openxmlformats.org/package/2006/relationships"><Relationship Id="rId3" Target="../tags/tag111.xml" Type="http://schemas.openxmlformats.org/officeDocument/2006/relationships/tags"/><Relationship Id="rId2" Target="../tags/tag11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7.xml.rels><?xml version="1.0" encoding="UTF-8" standalone="yes" ?><Relationships xmlns="http://schemas.openxmlformats.org/package/2006/relationships"><Relationship Id="rId3" Target="../tags/tag113.xml" Type="http://schemas.openxmlformats.org/officeDocument/2006/relationships/tags"/><Relationship Id="rId2" Target="../tags/tag11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58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tags/tag117.xml" Type="http://schemas.openxmlformats.org/officeDocument/2006/relationships/tags"/><Relationship Id="rId7" Target="../media/image3.jpeg" Type="http://schemas.openxmlformats.org/officeDocument/2006/relationships/image"/><Relationship Id="rId2" Target="../tags/tag11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59.xml.rels><?xml version="1.0" encoding="UTF-8" standalone="yes" ?><Relationships xmlns="http://schemas.openxmlformats.org/package/2006/relationships"><Relationship Id="rId3" Target="../slideMasters/slideMaster5.xml" Type="http://schemas.openxmlformats.org/officeDocument/2006/relationships/slideMaster"/><Relationship Id="rId7" Target="../media/image4.png" Type="http://schemas.openxmlformats.org/officeDocument/2006/relationships/image"/><Relationship Id="rId2" Target="../tags/tag118.xml" Type="http://schemas.openxmlformats.org/officeDocument/2006/relationships/tags"/><Relationship Id="rId6" Target="../media/image5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6.xml.rels><?xml version="1.0" encoding="UTF-8" standalone="yes" ?><Relationships xmlns="http://schemas.openxmlformats.org/package/2006/relationships"><Relationship Id="rId3" Target="../tags/tag13.xml" Type="http://schemas.openxmlformats.org/officeDocument/2006/relationships/tags"/><Relationship Id="rId2" Target="../tags/tag1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60.xml.rels><?xml version="1.0" encoding="UTF-8" standalone="yes" ?><Relationships xmlns="http://schemas.openxmlformats.org/package/2006/relationships"><Relationship Id="rId3" Target="../slideMasters/slideMaster5.xml" Type="http://schemas.openxmlformats.org/officeDocument/2006/relationships/slideMaster"/><Relationship Id="rId7" Target="../media/image4.png" Type="http://schemas.openxmlformats.org/officeDocument/2006/relationships/image"/><Relationship Id="rId2" Target="../tags/tag119.xml" Type="http://schemas.openxmlformats.org/officeDocument/2006/relationships/tags"/><Relationship Id="rId6" Target="../media/image6.jpeg" Type="http://schemas.openxmlformats.org/officeDocument/2006/relationships/image"/><Relationship Id="rId5" Target="../media/image1.emf" Type="http://schemas.openxmlformats.org/officeDocument/2006/relationships/image"/><Relationship Id="rId4" Target="../media/image1.emf" Type="http://schemas.openxmlformats.org/officeDocument/2006/relationships/image"/></Relationships>
</file>

<file path=ppt/slideLayouts/_rels/slideLayout61.xml.rels><?xml version="1.0" encoding="UTF-8" standalone="yes" ?><Relationships xmlns="http://schemas.openxmlformats.org/package/2006/relationships"><Relationship Id="rId3" Target="../tags/tag121.xml" Type="http://schemas.openxmlformats.org/officeDocument/2006/relationships/tags"/><Relationship Id="rId2" Target="../tags/tag12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2.xml.rels><?xml version="1.0" encoding="UTF-8" standalone="yes" ?><Relationships xmlns="http://schemas.openxmlformats.org/package/2006/relationships"><Relationship Id="rId3" Target="../tags/tag123.xml" Type="http://schemas.openxmlformats.org/officeDocument/2006/relationships/tags"/><Relationship Id="rId2" Target="../tags/tag12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3.xml.rels><?xml version="1.0" encoding="UTF-8" standalone="yes" ?><Relationships xmlns="http://schemas.openxmlformats.org/package/2006/relationships"><Relationship Id="rId3" Target="../tags/tag125.xml" Type="http://schemas.openxmlformats.org/officeDocument/2006/relationships/tags"/><Relationship Id="rId2" Target="../tags/tag12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4.xml.rels><?xml version="1.0" encoding="UTF-8" standalone="yes" ?><Relationships xmlns="http://schemas.openxmlformats.org/package/2006/relationships"><Relationship Id="rId3" Target="../tags/tag127.xml" Type="http://schemas.openxmlformats.org/officeDocument/2006/relationships/tags"/><Relationship Id="rId2" Target="../tags/tag12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5.xml.rels><?xml version="1.0" encoding="UTF-8" standalone="yes" ?><Relationships xmlns="http://schemas.openxmlformats.org/package/2006/relationships"><Relationship Id="rId3" Target="../tags/tag129.xml" Type="http://schemas.openxmlformats.org/officeDocument/2006/relationships/tags"/><Relationship Id="rId2" Target="../tags/tag12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6.xml.rels><?xml version="1.0" encoding="UTF-8" standalone="yes" ?><Relationships xmlns="http://schemas.openxmlformats.org/package/2006/relationships"><Relationship Id="rId3" Target="../tags/tag131.xml" Type="http://schemas.openxmlformats.org/officeDocument/2006/relationships/tags"/><Relationship Id="rId2" Target="../tags/tag13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7.xml.rels><?xml version="1.0" encoding="UTF-8" standalone="yes" ?><Relationships xmlns="http://schemas.openxmlformats.org/package/2006/relationships"><Relationship Id="rId3" Target="../tags/tag133.xml" Type="http://schemas.openxmlformats.org/officeDocument/2006/relationships/tags"/><Relationship Id="rId2" Target="../tags/tag132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8.xml.rels><?xml version="1.0" encoding="UTF-8" standalone="yes" ?><Relationships xmlns="http://schemas.openxmlformats.org/package/2006/relationships"><Relationship Id="rId3" Target="../tags/tag135.xml" Type="http://schemas.openxmlformats.org/officeDocument/2006/relationships/tags"/><Relationship Id="rId2" Target="../tags/tag13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69.xml.rels><?xml version="1.0" encoding="UTF-8" standalone="yes" ?><Relationships xmlns="http://schemas.openxmlformats.org/package/2006/relationships"><Relationship Id="rId3" Target="../tags/tag137.xml" Type="http://schemas.openxmlformats.org/officeDocument/2006/relationships/tags"/><Relationship Id="rId2" Target="../tags/tag13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7.xml.rels><?xml version="1.0" encoding="UTF-8" standalone="yes" ?><Relationships xmlns="http://schemas.openxmlformats.org/package/2006/relationships"><Relationship Id="rId3" Target="../tags/tag15.xml" Type="http://schemas.openxmlformats.org/officeDocument/2006/relationships/tags"/><Relationship Id="rId2" Target="../tags/tag14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70.xml.rels><?xml version="1.0" encoding="UTF-8" standalone="yes" ?><Relationships xmlns="http://schemas.openxmlformats.org/package/2006/relationships"><Relationship Id="rId3" Target="../tags/tag139.xml" Type="http://schemas.openxmlformats.org/officeDocument/2006/relationships/tags"/><Relationship Id="rId2" Target="../tags/tag13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71.xml.rels><?xml version="1.0" encoding="UTF-8" standalone="yes" ?><Relationships xmlns="http://schemas.openxmlformats.org/package/2006/relationships"><Relationship Id="rId3" Target="../tags/tag141.xml" Type="http://schemas.openxmlformats.org/officeDocument/2006/relationships/tags"/><Relationship Id="rId2" Target="../tags/tag140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5.xml" Type="http://schemas.openxmlformats.org/officeDocument/2006/relationships/slideMaster"/></Relationships>
</file>

<file path=ppt/slideLayouts/_rels/slideLayout8.xml.rels><?xml version="1.0" encoding="UTF-8" standalone="yes" ?><Relationships xmlns="http://schemas.openxmlformats.org/package/2006/relationships"><Relationship Id="rId3" Target="../tags/tag17.xml" Type="http://schemas.openxmlformats.org/officeDocument/2006/relationships/tags"/><Relationship Id="rId2" Target="../tags/tag16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_rels/slideLayout9.xml.rels><?xml version="1.0" encoding="UTF-8" standalone="yes" ?><Relationships xmlns="http://schemas.openxmlformats.org/package/2006/relationships"><Relationship Id="rId3" Target="../tags/tag19.xml" Type="http://schemas.openxmlformats.org/officeDocument/2006/relationships/tags"/><Relationship Id="rId2" Target="../tags/tag18.xml" Type="http://schemas.openxmlformats.org/officeDocument/2006/relationships/tags"/><Relationship Id="rId6" Target="../media/image1.emf" Type="http://schemas.openxmlformats.org/officeDocument/2006/relationships/image"/><Relationship Id="rId5" Target="../media/image1.emf" Type="http://schemas.openxmlformats.org/officeDocument/2006/relationships/image"/><Relationship Id="rId4" Target="../slideMasters/slideMaster1.xml" Type="http://schemas.openxmlformats.org/officeDocument/2006/relationships/slideMaster"/></Relationships>
</file>

<file path=ppt/slideLayouts/slideLayout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4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7" name="Rectangle 6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compatLnSpc="1" forceAA="0" fromWordArt="0" horzOverflow="overflow" lIns="0" numCol="1" rIns="0" rot="0" rtlCol="0" spcCol="0" spcFirstLastPara="0" tIns="0" vert="horz" vertOverflow="overflow" wrap="none">
            <a:prstTxWarp prst="textNoShape">
              <a:avLst/>
            </a:prstTxWarp>
            <a:noAutofit/>
          </a:bodyPr>
          <a:lstStyle/>
          <a:p>
            <a:pPr algn="ctr" eaLnBrk="1" indent="0" lvl="0" marL="0"/>
            <a:endParaRPr b="0" baseline="0" dirty="0" i="0" lang="en-US" sz="1800">
              <a:solidFill>
                <a:schemeClr val="tx1"/>
              </a:solidFill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0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6" name="Text Placeholder 5"/>
          <p:cNvSpPr>
            <a:spLocks noGrp="1"/>
          </p:cNvSpPr>
          <p:nvPr userDrawn="1">
            <p:ph hasCustomPrompt="1" idx="13" sz="quarter" type="body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anchor="b" anchorCtr="0"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sz="18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hasCustomPrompt="1" idx="12" sz="quarter" type="body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1" baseline="0" sz="24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3 w 142" name="T18"/>
                  <a:gd fmla="*/ 34 h 160" name="T19"/>
                  <a:gd fmla="*/ 133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fmla="*/ 298 w 298" name="T0"/>
                  <a:gd fmla="*/ 385 h 385" name="T1"/>
                  <a:gd fmla="*/ 0 w 298" name="T2"/>
                  <a:gd fmla="*/ 385 h 385" name="T3"/>
                  <a:gd fmla="*/ 0 w 298" name="T4"/>
                  <a:gd fmla="*/ 0 h 385" name="T5"/>
                  <a:gd fmla="*/ 294 w 298" name="T6"/>
                  <a:gd fmla="*/ 0 h 385" name="T7"/>
                  <a:gd fmla="*/ 294 w 298" name="T8"/>
                  <a:gd fmla="*/ 65 h 385" name="T9"/>
                  <a:gd fmla="*/ 91 w 298" name="T10"/>
                  <a:gd fmla="*/ 65 h 385" name="T11"/>
                  <a:gd fmla="*/ 91 w 298" name="T12"/>
                  <a:gd fmla="*/ 154 h 385" name="T13"/>
                  <a:gd fmla="*/ 274 w 298" name="T14"/>
                  <a:gd fmla="*/ 154 h 385" name="T15"/>
                  <a:gd fmla="*/ 274 w 298" name="T16"/>
                  <a:gd fmla="*/ 219 h 385" name="T17"/>
                  <a:gd fmla="*/ 91 w 298" name="T18"/>
                  <a:gd fmla="*/ 219 h 385" name="T19"/>
                  <a:gd fmla="*/ 91 w 298" name="T20"/>
                  <a:gd fmla="*/ 320 h 385" name="T21"/>
                  <a:gd fmla="*/ 298 w 298" name="T22"/>
                  <a:gd fmla="*/ 320 h 385" name="T23"/>
                  <a:gd fmla="*/ 298 w 298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298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1 w 131" name="T6"/>
                  <a:gd fmla="*/ 156 h 166" name="T7"/>
                  <a:gd fmla="*/ 89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1 w 131" name="T16"/>
                  <a:gd fmla="*/ 138 h 166" name="T17"/>
                  <a:gd fmla="*/ 93 w 131" name="T18"/>
                  <a:gd fmla="*/ 122 h 166" name="T19"/>
                  <a:gd fmla="*/ 93 w 131" name="T20"/>
                  <a:gd fmla="*/ 111 h 166" name="T21"/>
                  <a:gd fmla="*/ 89 w 131" name="T22"/>
                  <a:gd fmla="*/ 100 h 166" name="T23"/>
                  <a:gd fmla="*/ 72 w 131" name="T24"/>
                  <a:gd fmla="*/ 95 h 166" name="T25"/>
                  <a:gd fmla="*/ 53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8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2 w 131" name="T40"/>
                  <a:gd fmla="*/ 28 h 166" name="T41"/>
                  <a:gd fmla="*/ 46 w 131" name="T42"/>
                  <a:gd fmla="*/ 31 h 166" name="T43"/>
                  <a:gd fmla="*/ 39 w 131" name="T44"/>
                  <a:gd fmla="*/ 42 h 166" name="T45"/>
                  <a:gd fmla="*/ 39 w 131" name="T46"/>
                  <a:gd fmla="*/ 53 h 166" name="T47"/>
                  <a:gd fmla="*/ 60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fmla="*/ 152 w 152" name="T0"/>
                  <a:gd fmla="*/ 49 h 166" name="T1"/>
                  <a:gd fmla="*/ 152 w 152" name="T2"/>
                  <a:gd fmla="*/ 119 h 166" name="T3"/>
                  <a:gd fmla="*/ 145 w 152" name="T4"/>
                  <a:gd fmla="*/ 142 h 166" name="T5"/>
                  <a:gd fmla="*/ 125 w 152" name="T6"/>
                  <a:gd fmla="*/ 157 h 166" name="T7"/>
                  <a:gd fmla="*/ 101 w 152" name="T8"/>
                  <a:gd fmla="*/ 164 h 166" name="T9"/>
                  <a:gd fmla="*/ 75 w 152" name="T10"/>
                  <a:gd fmla="*/ 166 h 166" name="T11"/>
                  <a:gd fmla="*/ 51 w 152" name="T12"/>
                  <a:gd fmla="*/ 164 h 166" name="T13"/>
                  <a:gd fmla="*/ 27 w 152" name="T14"/>
                  <a:gd fmla="*/ 158 h 166" name="T15"/>
                  <a:gd fmla="*/ 7 w 152" name="T16"/>
                  <a:gd fmla="*/ 144 h 166" name="T17"/>
                  <a:gd fmla="*/ 0 w 152" name="T18"/>
                  <a:gd fmla="*/ 119 h 166" name="T19"/>
                  <a:gd fmla="*/ 0 w 152" name="T20"/>
                  <a:gd fmla="*/ 49 h 166" name="T21"/>
                  <a:gd fmla="*/ 5 w 152" name="T22"/>
                  <a:gd fmla="*/ 27 h 166" name="T23"/>
                  <a:gd fmla="*/ 18 w 152" name="T24"/>
                  <a:gd fmla="*/ 13 h 166" name="T25"/>
                  <a:gd fmla="*/ 37 w 152" name="T26"/>
                  <a:gd fmla="*/ 5 h 166" name="T27"/>
                  <a:gd fmla="*/ 57 w 152" name="T28"/>
                  <a:gd fmla="*/ 1 h 166" name="T29"/>
                  <a:gd fmla="*/ 75 w 152" name="T30"/>
                  <a:gd fmla="*/ 0 h 166" name="T31"/>
                  <a:gd fmla="*/ 94 w 152" name="T32"/>
                  <a:gd fmla="*/ 1 h 166" name="T33"/>
                  <a:gd fmla="*/ 114 w 152" name="T34"/>
                  <a:gd fmla="*/ 5 h 166" name="T35"/>
                  <a:gd fmla="*/ 133 w 152" name="T36"/>
                  <a:gd fmla="*/ 13 h 166" name="T37"/>
                  <a:gd fmla="*/ 146 w 152" name="T38"/>
                  <a:gd fmla="*/ 27 h 166" name="T39"/>
                  <a:gd fmla="*/ 152 w 152" name="T40"/>
                  <a:gd fmla="*/ 49 h 166" name="T41"/>
                  <a:gd fmla="*/ 113 w 152" name="T42"/>
                  <a:gd fmla="*/ 119 h 166" name="T43"/>
                  <a:gd fmla="*/ 113 w 152" name="T44"/>
                  <a:gd fmla="*/ 49 h 166" name="T45"/>
                  <a:gd fmla="*/ 104 w 152" name="T46"/>
                  <a:gd fmla="*/ 32 h 166" name="T47"/>
                  <a:gd fmla="*/ 76 w 152" name="T48"/>
                  <a:gd fmla="*/ 28 h 166" name="T49"/>
                  <a:gd fmla="*/ 47 w 152" name="T50"/>
                  <a:gd fmla="*/ 32 h 166" name="T51"/>
                  <a:gd fmla="*/ 38 w 152" name="T52"/>
                  <a:gd fmla="*/ 49 h 166" name="T53"/>
                  <a:gd fmla="*/ 38 w 152" name="T54"/>
                  <a:gd fmla="*/ 119 h 166" name="T55"/>
                  <a:gd fmla="*/ 41 w 152" name="T56"/>
                  <a:gd fmla="*/ 129 h 166" name="T57"/>
                  <a:gd fmla="*/ 51 w 152" name="T58"/>
                  <a:gd fmla="*/ 135 h 166" name="T59"/>
                  <a:gd fmla="*/ 62 w 152" name="T60"/>
                  <a:gd fmla="*/ 138 h 166" name="T61"/>
                  <a:gd fmla="*/ 76 w 152" name="T62"/>
                  <a:gd fmla="*/ 138 h 166" name="T63"/>
                  <a:gd fmla="*/ 90 w 152" name="T64"/>
                  <a:gd fmla="*/ 138 h 166" name="T65"/>
                  <a:gd fmla="*/ 101 w 152" name="T66"/>
                  <a:gd fmla="*/ 135 h 166" name="T67"/>
                  <a:gd fmla="*/ 110 w 152" name="T68"/>
                  <a:gd fmla="*/ 129 h 166" name="T69"/>
                  <a:gd fmla="*/ 113 w 152" name="T70"/>
                  <a:gd fmla="*/ 119 h 166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6" w="152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6 h 163" name="T3"/>
                  <a:gd fmla="*/ 70 w 139" name="T4"/>
                  <a:gd fmla="*/ 163 h 163" name="T5"/>
                  <a:gd fmla="*/ 0 w 139" name="T6"/>
                  <a:gd fmla="*/ 116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6 h 163" name="T13"/>
                  <a:gd fmla="*/ 46 w 139" name="T14"/>
                  <a:gd fmla="*/ 131 h 163" name="T15"/>
                  <a:gd fmla="*/ 70 w 139" name="T16"/>
                  <a:gd fmla="*/ 135 h 163" name="T17"/>
                  <a:gd fmla="*/ 94 w 139" name="T18"/>
                  <a:gd fmla="*/ 131 h 163" name="T19"/>
                  <a:gd fmla="*/ 101 w 139" name="T20"/>
                  <a:gd fmla="*/ 116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2 w 142" name="T18"/>
                  <a:gd fmla="*/ 34 h 160" name="T19"/>
                  <a:gd fmla="*/ 132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fmla="*/ 126 w 126" name="T0"/>
                  <a:gd fmla="*/ 160 h 166" name="T1"/>
                  <a:gd fmla="*/ 74 w 126" name="T2"/>
                  <a:gd fmla="*/ 166 h 166" name="T3"/>
                  <a:gd fmla="*/ 56 w 126" name="T4"/>
                  <a:gd fmla="*/ 165 h 166" name="T5"/>
                  <a:gd fmla="*/ 36 w 126" name="T6"/>
                  <a:gd fmla="*/ 161 h 166" name="T7"/>
                  <a:gd fmla="*/ 18 w 126" name="T8"/>
                  <a:gd fmla="*/ 153 h 166" name="T9"/>
                  <a:gd fmla="*/ 5 w 126" name="T10"/>
                  <a:gd fmla="*/ 140 h 166" name="T11"/>
                  <a:gd fmla="*/ 0 w 126" name="T12"/>
                  <a:gd fmla="*/ 119 h 166" name="T13"/>
                  <a:gd fmla="*/ 0 w 126" name="T14"/>
                  <a:gd fmla="*/ 49 h 166" name="T15"/>
                  <a:gd fmla="*/ 74 w 126" name="T16"/>
                  <a:gd fmla="*/ 0 h 166" name="T17"/>
                  <a:gd fmla="*/ 125 w 126" name="T18"/>
                  <a:gd fmla="*/ 6 h 166" name="T19"/>
                  <a:gd fmla="*/ 125 w 126" name="T20"/>
                  <a:gd fmla="*/ 35 h 166" name="T21"/>
                  <a:gd fmla="*/ 75 w 126" name="T22"/>
                  <a:gd fmla="*/ 28 h 166" name="T23"/>
                  <a:gd fmla="*/ 61 w 126" name="T24"/>
                  <a:gd fmla="*/ 28 h 166" name="T25"/>
                  <a:gd fmla="*/ 50 w 126" name="T26"/>
                  <a:gd fmla="*/ 31 h 166" name="T27"/>
                  <a:gd fmla="*/ 41 w 126" name="T28"/>
                  <a:gd fmla="*/ 37 h 166" name="T29"/>
                  <a:gd fmla="*/ 39 w 126" name="T30"/>
                  <a:gd fmla="*/ 48 h 166" name="T31"/>
                  <a:gd fmla="*/ 39 w 126" name="T32"/>
                  <a:gd fmla="*/ 116 h 166" name="T33"/>
                  <a:gd fmla="*/ 78 w 126" name="T34"/>
                  <a:gd fmla="*/ 138 h 166" name="T35"/>
                  <a:gd fmla="*/ 126 w 126" name="T36"/>
                  <a:gd fmla="*/ 131 h 166" name="T37"/>
                  <a:gd fmla="*/ 126 w 126" name="T38"/>
                  <a:gd fmla="*/ 160 h 166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6" w="12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fmla="*/ 302 w 302" name="T0"/>
                  <a:gd fmla="*/ 385 h 385" name="T1"/>
                  <a:gd fmla="*/ 0 w 302" name="T2"/>
                  <a:gd fmla="*/ 385 h 385" name="T3"/>
                  <a:gd fmla="*/ 0 w 302" name="T4"/>
                  <a:gd fmla="*/ 0 h 385" name="T5"/>
                  <a:gd fmla="*/ 294 w 302" name="T6"/>
                  <a:gd fmla="*/ 0 h 385" name="T7"/>
                  <a:gd fmla="*/ 294 w 302" name="T8"/>
                  <a:gd fmla="*/ 65 h 385" name="T9"/>
                  <a:gd fmla="*/ 94 w 302" name="T10"/>
                  <a:gd fmla="*/ 65 h 385" name="T11"/>
                  <a:gd fmla="*/ 94 w 302" name="T12"/>
                  <a:gd fmla="*/ 154 h 385" name="T13"/>
                  <a:gd fmla="*/ 275 w 302" name="T14"/>
                  <a:gd fmla="*/ 154 h 385" name="T15"/>
                  <a:gd fmla="*/ 275 w 302" name="T16"/>
                  <a:gd fmla="*/ 219 h 385" name="T17"/>
                  <a:gd fmla="*/ 94 w 302" name="T18"/>
                  <a:gd fmla="*/ 219 h 385" name="T19"/>
                  <a:gd fmla="*/ 94 w 302" name="T20"/>
                  <a:gd fmla="*/ 320 h 385" name="T21"/>
                  <a:gd fmla="*/ 302 w 302" name="T22"/>
                  <a:gd fmla="*/ 320 h 385" name="T23"/>
                  <a:gd fmla="*/ 302 w 302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302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0 w 131" name="T6"/>
                  <a:gd fmla="*/ 156 h 166" name="T7"/>
                  <a:gd fmla="*/ 88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0 w 131" name="T16"/>
                  <a:gd fmla="*/ 138 h 166" name="T17"/>
                  <a:gd fmla="*/ 92 w 131" name="T18"/>
                  <a:gd fmla="*/ 122 h 166" name="T19"/>
                  <a:gd fmla="*/ 92 w 131" name="T20"/>
                  <a:gd fmla="*/ 111 h 166" name="T21"/>
                  <a:gd fmla="*/ 88 w 131" name="T22"/>
                  <a:gd fmla="*/ 100 h 166" name="T23"/>
                  <a:gd fmla="*/ 71 w 131" name="T24"/>
                  <a:gd fmla="*/ 95 h 166" name="T25"/>
                  <a:gd fmla="*/ 52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7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1 w 131" name="T40"/>
                  <a:gd fmla="*/ 28 h 166" name="T41"/>
                  <a:gd fmla="*/ 45 w 131" name="T42"/>
                  <a:gd fmla="*/ 31 h 166" name="T43"/>
                  <a:gd fmla="*/ 38 w 131" name="T44"/>
                  <a:gd fmla="*/ 42 h 166" name="T45"/>
                  <a:gd fmla="*/ 38 w 131" name="T46"/>
                  <a:gd fmla="*/ 53 h 166" name="T47"/>
                  <a:gd fmla="*/ 59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fmla="*/ 147 w 147" name="T0"/>
                  <a:gd fmla="*/ 155 h 165" name="T1"/>
                  <a:gd fmla="*/ 115 w 147" name="T2"/>
                  <a:gd fmla="*/ 162 h 165" name="T3"/>
                  <a:gd fmla="*/ 80 w 147" name="T4"/>
                  <a:gd fmla="*/ 165 h 165" name="T5"/>
                  <a:gd fmla="*/ 56 w 147" name="T6"/>
                  <a:gd fmla="*/ 164 h 165" name="T7"/>
                  <a:gd fmla="*/ 34 w 147" name="T8"/>
                  <a:gd fmla="*/ 160 h 165" name="T9"/>
                  <a:gd fmla="*/ 16 w 147" name="T10"/>
                  <a:gd fmla="*/ 152 h 165" name="T11"/>
                  <a:gd fmla="*/ 5 w 147" name="T12"/>
                  <a:gd fmla="*/ 138 h 165" name="T13"/>
                  <a:gd fmla="*/ 0 w 147" name="T14"/>
                  <a:gd fmla="*/ 119 h 165" name="T15"/>
                  <a:gd fmla="*/ 0 w 147" name="T16"/>
                  <a:gd fmla="*/ 52 h 165" name="T17"/>
                  <a:gd fmla="*/ 5 w 147" name="T18"/>
                  <a:gd fmla="*/ 30 h 165" name="T19"/>
                  <a:gd fmla="*/ 18 w 147" name="T20"/>
                  <a:gd fmla="*/ 15 h 165" name="T21"/>
                  <a:gd fmla="*/ 37 w 147" name="T22"/>
                  <a:gd fmla="*/ 6 h 165" name="T23"/>
                  <a:gd fmla="*/ 59 w 147" name="T24"/>
                  <a:gd fmla="*/ 1 h 165" name="T25"/>
                  <a:gd fmla="*/ 80 w 147" name="T26"/>
                  <a:gd fmla="*/ 0 h 165" name="T27"/>
                  <a:gd fmla="*/ 146 w 147" name="T28"/>
                  <a:gd fmla="*/ 5 h 165" name="T29"/>
                  <a:gd fmla="*/ 146 w 147" name="T30"/>
                  <a:gd fmla="*/ 34 h 165" name="T31"/>
                  <a:gd fmla="*/ 80 w 147" name="T32"/>
                  <a:gd fmla="*/ 27 h 165" name="T33"/>
                  <a:gd fmla="*/ 39 w 147" name="T34"/>
                  <a:gd fmla="*/ 51 h 165" name="T35"/>
                  <a:gd fmla="*/ 39 w 147" name="T36"/>
                  <a:gd fmla="*/ 116 h 165" name="T37"/>
                  <a:gd fmla="*/ 50 w 147" name="T38"/>
                  <a:gd fmla="*/ 133 h 165" name="T39"/>
                  <a:gd fmla="*/ 84 w 147" name="T40"/>
                  <a:gd fmla="*/ 138 h 165" name="T41"/>
                  <a:gd fmla="*/ 110 w 147" name="T42"/>
                  <a:gd fmla="*/ 134 h 165" name="T43"/>
                  <a:gd fmla="*/ 110 w 147" name="T44"/>
                  <a:gd fmla="*/ 97 h 165" name="T45"/>
                  <a:gd fmla="*/ 84 w 147" name="T46"/>
                  <a:gd fmla="*/ 97 h 165" name="T47"/>
                  <a:gd fmla="*/ 84 w 147" name="T48"/>
                  <a:gd fmla="*/ 71 h 165" name="T49"/>
                  <a:gd fmla="*/ 147 w 147" name="T50"/>
                  <a:gd fmla="*/ 71 h 165" name="T51"/>
                  <a:gd fmla="*/ 147 w 147" name="T52"/>
                  <a:gd fmla="*/ 155 h 165" name="T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b="b" l="0" r="r" t="0"/>
                <a:pathLst>
                  <a:path h="165" w="147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1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1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fmla="*/ 152 w 152" name="T0"/>
                  <a:gd fmla="*/ 48 h 165" name="T1"/>
                  <a:gd fmla="*/ 152 w 152" name="T2"/>
                  <a:gd fmla="*/ 119 h 165" name="T3"/>
                  <a:gd fmla="*/ 145 w 152" name="T4"/>
                  <a:gd fmla="*/ 142 h 165" name="T5"/>
                  <a:gd fmla="*/ 126 w 152" name="T6"/>
                  <a:gd fmla="*/ 156 h 165" name="T7"/>
                  <a:gd fmla="*/ 102 w 152" name="T8"/>
                  <a:gd fmla="*/ 163 h 165" name="T9"/>
                  <a:gd fmla="*/ 76 w 152" name="T10"/>
                  <a:gd fmla="*/ 165 h 165" name="T11"/>
                  <a:gd fmla="*/ 52 w 152" name="T12"/>
                  <a:gd fmla="*/ 163 h 165" name="T13"/>
                  <a:gd fmla="*/ 28 w 152" name="T14"/>
                  <a:gd fmla="*/ 157 h 165" name="T15"/>
                  <a:gd fmla="*/ 8 w 152" name="T16"/>
                  <a:gd fmla="*/ 143 h 165" name="T17"/>
                  <a:gd fmla="*/ 0 w 152" name="T18"/>
                  <a:gd fmla="*/ 119 h 165" name="T19"/>
                  <a:gd fmla="*/ 0 w 152" name="T20"/>
                  <a:gd fmla="*/ 48 h 165" name="T21"/>
                  <a:gd fmla="*/ 6 w 152" name="T22"/>
                  <a:gd fmla="*/ 27 h 165" name="T23"/>
                  <a:gd fmla="*/ 19 w 152" name="T24"/>
                  <a:gd fmla="*/ 12 h 165" name="T25"/>
                  <a:gd fmla="*/ 38 w 152" name="T26"/>
                  <a:gd fmla="*/ 4 h 165" name="T27"/>
                  <a:gd fmla="*/ 58 w 152" name="T28"/>
                  <a:gd fmla="*/ 0 h 165" name="T29"/>
                  <a:gd fmla="*/ 76 w 152" name="T30"/>
                  <a:gd fmla="*/ 0 h 165" name="T31"/>
                  <a:gd fmla="*/ 95 w 152" name="T32"/>
                  <a:gd fmla="*/ 0 h 165" name="T33"/>
                  <a:gd fmla="*/ 115 w 152" name="T34"/>
                  <a:gd fmla="*/ 4 h 165" name="T35"/>
                  <a:gd fmla="*/ 134 w 152" name="T36"/>
                  <a:gd fmla="*/ 12 h 165" name="T37"/>
                  <a:gd fmla="*/ 147 w 152" name="T38"/>
                  <a:gd fmla="*/ 27 h 165" name="T39"/>
                  <a:gd fmla="*/ 152 w 152" name="T40"/>
                  <a:gd fmla="*/ 48 h 165" name="T41"/>
                  <a:gd fmla="*/ 114 w 152" name="T42"/>
                  <a:gd fmla="*/ 119 h 165" name="T43"/>
                  <a:gd fmla="*/ 114 w 152" name="T44"/>
                  <a:gd fmla="*/ 48 h 165" name="T45"/>
                  <a:gd fmla="*/ 104 w 152" name="T46"/>
                  <a:gd fmla="*/ 32 h 165" name="T47"/>
                  <a:gd fmla="*/ 76 w 152" name="T48"/>
                  <a:gd fmla="*/ 27 h 165" name="T49"/>
                  <a:gd fmla="*/ 48 w 152" name="T50"/>
                  <a:gd fmla="*/ 32 h 165" name="T51"/>
                  <a:gd fmla="*/ 39 w 152" name="T52"/>
                  <a:gd fmla="*/ 48 h 165" name="T53"/>
                  <a:gd fmla="*/ 39 w 152" name="T54"/>
                  <a:gd fmla="*/ 119 h 165" name="T55"/>
                  <a:gd fmla="*/ 42 w 152" name="T56"/>
                  <a:gd fmla="*/ 129 h 165" name="T57"/>
                  <a:gd fmla="*/ 51 w 152" name="T58"/>
                  <a:gd fmla="*/ 135 h 165" name="T59"/>
                  <a:gd fmla="*/ 63 w 152" name="T60"/>
                  <a:gd fmla="*/ 137 h 165" name="T61"/>
                  <a:gd fmla="*/ 77 w 152" name="T62"/>
                  <a:gd fmla="*/ 138 h 165" name="T63"/>
                  <a:gd fmla="*/ 90 w 152" name="T64"/>
                  <a:gd fmla="*/ 137 h 165" name="T65"/>
                  <a:gd fmla="*/ 102 w 152" name="T66"/>
                  <a:gd fmla="*/ 135 h 165" name="T67"/>
                  <a:gd fmla="*/ 111 w 152" name="T68"/>
                  <a:gd fmla="*/ 129 h 165" name="T69"/>
                  <a:gd fmla="*/ 114 w 152" name="T70"/>
                  <a:gd fmla="*/ 119 h 165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5" w="152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70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4 w 139" name="T18"/>
                  <a:gd fmla="*/ 132 h 163" name="T19"/>
                  <a:gd fmla="*/ 101 w 139" name="T20"/>
                  <a:gd fmla="*/ 117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fmla="*/ 128 w 128" name="T0"/>
                  <a:gd fmla="*/ 37 h 161" name="T1"/>
                  <a:gd fmla="*/ 128 w 128" name="T2"/>
                  <a:gd fmla="*/ 67 h 161" name="T3"/>
                  <a:gd fmla="*/ 112 w 128" name="T4"/>
                  <a:gd fmla="*/ 100 h 161" name="T5"/>
                  <a:gd fmla="*/ 60 w 128" name="T6"/>
                  <a:gd fmla="*/ 108 h 161" name="T7"/>
                  <a:gd fmla="*/ 39 w 128" name="T8"/>
                  <a:gd fmla="*/ 108 h 161" name="T9"/>
                  <a:gd fmla="*/ 39 w 128" name="T10"/>
                  <a:gd fmla="*/ 161 h 161" name="T11"/>
                  <a:gd fmla="*/ 0 w 128" name="T12"/>
                  <a:gd fmla="*/ 161 h 161" name="T13"/>
                  <a:gd fmla="*/ 0 w 128" name="T14"/>
                  <a:gd fmla="*/ 0 h 161" name="T15"/>
                  <a:gd fmla="*/ 65 w 128" name="T16"/>
                  <a:gd fmla="*/ 0 h 161" name="T17"/>
                  <a:gd fmla="*/ 113 w 128" name="T18"/>
                  <a:gd fmla="*/ 8 h 161" name="T19"/>
                  <a:gd fmla="*/ 128 w 128" name="T20"/>
                  <a:gd fmla="*/ 37 h 161" name="T21"/>
                  <a:gd fmla="*/ 91 w 128" name="T22"/>
                  <a:gd fmla="*/ 66 h 161" name="T23"/>
                  <a:gd fmla="*/ 91 w 128" name="T24"/>
                  <a:gd fmla="*/ 40 h 161" name="T25"/>
                  <a:gd fmla="*/ 85 w 128" name="T26"/>
                  <a:gd fmla="*/ 30 h 161" name="T27"/>
                  <a:gd fmla="*/ 63 w 128" name="T28"/>
                  <a:gd fmla="*/ 28 h 161" name="T29"/>
                  <a:gd fmla="*/ 39 w 128" name="T30"/>
                  <a:gd fmla="*/ 28 h 161" name="T31"/>
                  <a:gd fmla="*/ 39 w 128" name="T32"/>
                  <a:gd fmla="*/ 82 h 161" name="T33"/>
                  <a:gd fmla="*/ 63 w 128" name="T34"/>
                  <a:gd fmla="*/ 82 h 161" name="T35"/>
                  <a:gd fmla="*/ 85 w 128" name="T36"/>
                  <a:gd fmla="*/ 78 h 161" name="T37"/>
                  <a:gd fmla="*/ 91 w 128" name="T38"/>
                  <a:gd fmla="*/ 66 h 161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1" w="128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l" lvl="0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fmla="*/ 299 w 299" name="T0"/>
                  <a:gd fmla="*/ 388 h 388" name="T1"/>
                  <a:gd fmla="*/ 0 w 299" name="T2"/>
                  <a:gd fmla="*/ 388 h 388" name="T3"/>
                  <a:gd fmla="*/ 0 w 299" name="T4"/>
                  <a:gd fmla="*/ 0 h 388" name="T5"/>
                  <a:gd fmla="*/ 294 w 299" name="T6"/>
                  <a:gd fmla="*/ 0 h 388" name="T7"/>
                  <a:gd fmla="*/ 294 w 299" name="T8"/>
                  <a:gd fmla="*/ 68 h 388" name="T9"/>
                  <a:gd fmla="*/ 92 w 299" name="T10"/>
                  <a:gd fmla="*/ 68 h 388" name="T11"/>
                  <a:gd fmla="*/ 92 w 299" name="T12"/>
                  <a:gd fmla="*/ 157 h 388" name="T13"/>
                  <a:gd fmla="*/ 275 w 299" name="T14"/>
                  <a:gd fmla="*/ 157 h 388" name="T15"/>
                  <a:gd fmla="*/ 275 w 299" name="T16"/>
                  <a:gd fmla="*/ 222 h 388" name="T17"/>
                  <a:gd fmla="*/ 92 w 299" name="T18"/>
                  <a:gd fmla="*/ 222 h 388" name="T19"/>
                  <a:gd fmla="*/ 92 w 299" name="T20"/>
                  <a:gd fmla="*/ 321 h 388" name="T21"/>
                  <a:gd fmla="*/ 299 w 299" name="T22"/>
                  <a:gd fmla="*/ 321 h 388" name="T23"/>
                  <a:gd fmla="*/ 299 w 299" name="T24"/>
                  <a:gd fmla="*/ 388 h 388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8" w="299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69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8 w 139" name="T10"/>
                  <a:gd fmla="*/ 0 h 163" name="T11"/>
                  <a:gd fmla="*/ 38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3 w 139" name="T18"/>
                  <a:gd fmla="*/ 132 h 163" name="T19"/>
                  <a:gd fmla="*/ 100 w 139" name="T20"/>
                  <a:gd fmla="*/ 117 h 163" name="T21"/>
                  <a:gd fmla="*/ 100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2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2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fmla="*/ 131 w 131" name="T0"/>
                  <a:gd fmla="*/ 106 h 165" name="T1"/>
                  <a:gd fmla="*/ 131 w 131" name="T2"/>
                  <a:gd fmla="*/ 117 h 165" name="T3"/>
                  <a:gd fmla="*/ 126 w 131" name="T4"/>
                  <a:gd fmla="*/ 141 h 165" name="T5"/>
                  <a:gd fmla="*/ 111 w 131" name="T6"/>
                  <a:gd fmla="*/ 156 h 165" name="T7"/>
                  <a:gd fmla="*/ 88 w 131" name="T8"/>
                  <a:gd fmla="*/ 163 h 165" name="T9"/>
                  <a:gd fmla="*/ 60 w 131" name="T10"/>
                  <a:gd fmla="*/ 165 h 165" name="T11"/>
                  <a:gd fmla="*/ 3 w 131" name="T12"/>
                  <a:gd fmla="*/ 161 h 165" name="T13"/>
                  <a:gd fmla="*/ 3 w 131" name="T14"/>
                  <a:gd fmla="*/ 131 h 165" name="T15"/>
                  <a:gd fmla="*/ 60 w 131" name="T16"/>
                  <a:gd fmla="*/ 138 h 165" name="T17"/>
                  <a:gd fmla="*/ 92 w 131" name="T18"/>
                  <a:gd fmla="*/ 121 h 165" name="T19"/>
                  <a:gd fmla="*/ 92 w 131" name="T20"/>
                  <a:gd fmla="*/ 111 h 165" name="T21"/>
                  <a:gd fmla="*/ 88 w 131" name="T22"/>
                  <a:gd fmla="*/ 99 h 165" name="T23"/>
                  <a:gd fmla="*/ 71 w 131" name="T24"/>
                  <a:gd fmla="*/ 94 h 165" name="T25"/>
                  <a:gd fmla="*/ 53 w 131" name="T26"/>
                  <a:gd fmla="*/ 94 h 165" name="T27"/>
                  <a:gd fmla="*/ 0 w 131" name="T28"/>
                  <a:gd fmla="*/ 53 h 165" name="T29"/>
                  <a:gd fmla="*/ 0 w 131" name="T30"/>
                  <a:gd fmla="*/ 41 h 165" name="T31"/>
                  <a:gd fmla="*/ 17 w 131" name="T32"/>
                  <a:gd fmla="*/ 10 h 165" name="T33"/>
                  <a:gd fmla="*/ 73 w 131" name="T34"/>
                  <a:gd fmla="*/ 0 h 165" name="T35"/>
                  <a:gd fmla="*/ 123 w 131" name="T36"/>
                  <a:gd fmla="*/ 3 h 165" name="T37"/>
                  <a:gd fmla="*/ 123 w 131" name="T38"/>
                  <a:gd fmla="*/ 32 h 165" name="T39"/>
                  <a:gd fmla="*/ 72 w 131" name="T40"/>
                  <a:gd fmla="*/ 27 h 165" name="T41"/>
                  <a:gd fmla="*/ 46 w 131" name="T42"/>
                  <a:gd fmla="*/ 31 h 165" name="T43"/>
                  <a:gd fmla="*/ 38 w 131" name="T44"/>
                  <a:gd fmla="*/ 41 h 165" name="T45"/>
                  <a:gd fmla="*/ 38 w 131" name="T46"/>
                  <a:gd fmla="*/ 53 h 165" name="T47"/>
                  <a:gd fmla="*/ 60 w 131" name="T48"/>
                  <a:gd fmla="*/ 65 h 165" name="T49"/>
                  <a:gd fmla="*/ 79 w 131" name="T50"/>
                  <a:gd fmla="*/ 65 h 165" name="T51"/>
                  <a:gd fmla="*/ 119 w 131" name="T52"/>
                  <a:gd fmla="*/ 76 h 165" name="T53"/>
                  <a:gd fmla="*/ 131 w 131" name="T54"/>
                  <a:gd fmla="*/ 106 h 165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5" w="131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fmla="*/ 364 w 364" name="T0"/>
                  <a:gd fmla="*/ 388 h 388" name="T1"/>
                  <a:gd fmla="*/ 270 w 364" name="T2"/>
                  <a:gd fmla="*/ 388 h 388" name="T3"/>
                  <a:gd fmla="*/ 82 w 364" name="T4"/>
                  <a:gd fmla="*/ 121 h 388" name="T5"/>
                  <a:gd fmla="*/ 82 w 364" name="T6"/>
                  <a:gd fmla="*/ 388 h 388" name="T7"/>
                  <a:gd fmla="*/ 0 w 364" name="T8"/>
                  <a:gd fmla="*/ 388 h 388" name="T9"/>
                  <a:gd fmla="*/ 0 w 364" name="T10"/>
                  <a:gd fmla="*/ 0 h 388" name="T11"/>
                  <a:gd fmla="*/ 94 w 364" name="T12"/>
                  <a:gd fmla="*/ 0 h 388" name="T13"/>
                  <a:gd fmla="*/ 279 w 364" name="T14"/>
                  <a:gd fmla="*/ 265 h 388" name="T15"/>
                  <a:gd fmla="*/ 279 w 364" name="T16"/>
                  <a:gd fmla="*/ 0 h 388" name="T17"/>
                  <a:gd fmla="*/ 364 w 364" name="T18"/>
                  <a:gd fmla="*/ 0 h 388" name="T19"/>
                  <a:gd fmla="*/ 364 w 364" name="T20"/>
                  <a:gd fmla="*/ 388 h 388" name="T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b="b" l="0" r="r" t="0"/>
                <a:pathLst>
                  <a:path h="388" w="364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 lvl="0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</p:grp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cstate="screen"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030484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hasCustomPrompt="1" idx="14" sz="quarter" type="pic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87352837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410838800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72403872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hasCustomPrompt="1" idx="14" sz="quarter" type="body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hasCustomPrompt="1" idx="15" sz="quarter" type="pic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hasCustomPrompt="1" idx="18" sz="quarter" type="body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hasCustomPrompt="1" idx="19" sz="quarter" type="pic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hasCustomPrompt="1" idx="22" sz="quarter" type="body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1" name="Picture Placeholder 8"/>
          <p:cNvSpPr>
            <a:spLocks noGrp="1"/>
          </p:cNvSpPr>
          <p:nvPr>
            <p:ph hasCustomPrompt="1" idx="23" sz="quarter" type="pic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hasCustomPrompt="1" idx="26" sz="quarter" type="body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5" name="Picture Placeholder 8"/>
          <p:cNvSpPr>
            <a:spLocks noGrp="1"/>
          </p:cNvSpPr>
          <p:nvPr>
            <p:ph hasCustomPrompt="1" idx="27" sz="quarter" type="pic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355676815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412428516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6CA3F0-3C44-476E-94BB-ACB15BB674DC}" type="datetimeFigureOut">
              <a:rPr lang="ru-RU"/>
              <a:pPr>
                <a:defRPr/>
              </a:pPr>
              <a:t>02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8A4AAF-BF80-499C-B392-4C9781EE226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35955208"/>
      </p:ext>
    </p:extLst>
  </p:cSld>
  <p:clrMapOvr>
    <a:masterClrMapping/>
  </p:clrMapOvr>
</p:sldLayout>
</file>

<file path=ppt/slideLayouts/slideLayout1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4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7" name="Rectangle 6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compatLnSpc="1" forceAA="0" fromWordArt="0" horzOverflow="overflow" lIns="0" numCol="1" rIns="0" rot="0" rtlCol="0" spcCol="0" spcFirstLastPara="0" tIns="0" vert="horz" vertOverflow="overflow" wrap="none">
            <a:prstTxWarp prst="textNoShape">
              <a:avLst/>
            </a:prstTxWarp>
            <a:noAutofit/>
          </a:bodyPr>
          <a:lstStyle/>
          <a:p>
            <a:pPr algn="ctr"/>
            <a:endParaRPr dirty="0" lang="en-US">
              <a:solidFill>
                <a:srgbClr val="32373C"/>
              </a:solidFill>
              <a:sym charset="0" panose="020B0604020202020204" pitchFamily="34"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0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hasCustomPrompt="1" idx="13" sz="quarter" type="body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anchor="b" anchorCtr="0"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sz="18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hasCustomPrompt="1" idx="12" sz="quarter" type="body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1" baseline="0" sz="24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3 w 142" name="T18"/>
                  <a:gd fmla="*/ 34 h 160" name="T19"/>
                  <a:gd fmla="*/ 133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fmla="*/ 298 w 298" name="T0"/>
                  <a:gd fmla="*/ 385 h 385" name="T1"/>
                  <a:gd fmla="*/ 0 w 298" name="T2"/>
                  <a:gd fmla="*/ 385 h 385" name="T3"/>
                  <a:gd fmla="*/ 0 w 298" name="T4"/>
                  <a:gd fmla="*/ 0 h 385" name="T5"/>
                  <a:gd fmla="*/ 294 w 298" name="T6"/>
                  <a:gd fmla="*/ 0 h 385" name="T7"/>
                  <a:gd fmla="*/ 294 w 298" name="T8"/>
                  <a:gd fmla="*/ 65 h 385" name="T9"/>
                  <a:gd fmla="*/ 91 w 298" name="T10"/>
                  <a:gd fmla="*/ 65 h 385" name="T11"/>
                  <a:gd fmla="*/ 91 w 298" name="T12"/>
                  <a:gd fmla="*/ 154 h 385" name="T13"/>
                  <a:gd fmla="*/ 274 w 298" name="T14"/>
                  <a:gd fmla="*/ 154 h 385" name="T15"/>
                  <a:gd fmla="*/ 274 w 298" name="T16"/>
                  <a:gd fmla="*/ 219 h 385" name="T17"/>
                  <a:gd fmla="*/ 91 w 298" name="T18"/>
                  <a:gd fmla="*/ 219 h 385" name="T19"/>
                  <a:gd fmla="*/ 91 w 298" name="T20"/>
                  <a:gd fmla="*/ 320 h 385" name="T21"/>
                  <a:gd fmla="*/ 298 w 298" name="T22"/>
                  <a:gd fmla="*/ 320 h 385" name="T23"/>
                  <a:gd fmla="*/ 298 w 298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298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1 w 131" name="T6"/>
                  <a:gd fmla="*/ 156 h 166" name="T7"/>
                  <a:gd fmla="*/ 89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1 w 131" name="T16"/>
                  <a:gd fmla="*/ 138 h 166" name="T17"/>
                  <a:gd fmla="*/ 93 w 131" name="T18"/>
                  <a:gd fmla="*/ 122 h 166" name="T19"/>
                  <a:gd fmla="*/ 93 w 131" name="T20"/>
                  <a:gd fmla="*/ 111 h 166" name="T21"/>
                  <a:gd fmla="*/ 89 w 131" name="T22"/>
                  <a:gd fmla="*/ 100 h 166" name="T23"/>
                  <a:gd fmla="*/ 72 w 131" name="T24"/>
                  <a:gd fmla="*/ 95 h 166" name="T25"/>
                  <a:gd fmla="*/ 53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8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2 w 131" name="T40"/>
                  <a:gd fmla="*/ 28 h 166" name="T41"/>
                  <a:gd fmla="*/ 46 w 131" name="T42"/>
                  <a:gd fmla="*/ 31 h 166" name="T43"/>
                  <a:gd fmla="*/ 39 w 131" name="T44"/>
                  <a:gd fmla="*/ 42 h 166" name="T45"/>
                  <a:gd fmla="*/ 39 w 131" name="T46"/>
                  <a:gd fmla="*/ 53 h 166" name="T47"/>
                  <a:gd fmla="*/ 60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fmla="*/ 152 w 152" name="T0"/>
                  <a:gd fmla="*/ 49 h 166" name="T1"/>
                  <a:gd fmla="*/ 152 w 152" name="T2"/>
                  <a:gd fmla="*/ 119 h 166" name="T3"/>
                  <a:gd fmla="*/ 145 w 152" name="T4"/>
                  <a:gd fmla="*/ 142 h 166" name="T5"/>
                  <a:gd fmla="*/ 125 w 152" name="T6"/>
                  <a:gd fmla="*/ 157 h 166" name="T7"/>
                  <a:gd fmla="*/ 101 w 152" name="T8"/>
                  <a:gd fmla="*/ 164 h 166" name="T9"/>
                  <a:gd fmla="*/ 75 w 152" name="T10"/>
                  <a:gd fmla="*/ 166 h 166" name="T11"/>
                  <a:gd fmla="*/ 51 w 152" name="T12"/>
                  <a:gd fmla="*/ 164 h 166" name="T13"/>
                  <a:gd fmla="*/ 27 w 152" name="T14"/>
                  <a:gd fmla="*/ 158 h 166" name="T15"/>
                  <a:gd fmla="*/ 7 w 152" name="T16"/>
                  <a:gd fmla="*/ 144 h 166" name="T17"/>
                  <a:gd fmla="*/ 0 w 152" name="T18"/>
                  <a:gd fmla="*/ 119 h 166" name="T19"/>
                  <a:gd fmla="*/ 0 w 152" name="T20"/>
                  <a:gd fmla="*/ 49 h 166" name="T21"/>
                  <a:gd fmla="*/ 5 w 152" name="T22"/>
                  <a:gd fmla="*/ 27 h 166" name="T23"/>
                  <a:gd fmla="*/ 18 w 152" name="T24"/>
                  <a:gd fmla="*/ 13 h 166" name="T25"/>
                  <a:gd fmla="*/ 37 w 152" name="T26"/>
                  <a:gd fmla="*/ 5 h 166" name="T27"/>
                  <a:gd fmla="*/ 57 w 152" name="T28"/>
                  <a:gd fmla="*/ 1 h 166" name="T29"/>
                  <a:gd fmla="*/ 75 w 152" name="T30"/>
                  <a:gd fmla="*/ 0 h 166" name="T31"/>
                  <a:gd fmla="*/ 94 w 152" name="T32"/>
                  <a:gd fmla="*/ 1 h 166" name="T33"/>
                  <a:gd fmla="*/ 114 w 152" name="T34"/>
                  <a:gd fmla="*/ 5 h 166" name="T35"/>
                  <a:gd fmla="*/ 133 w 152" name="T36"/>
                  <a:gd fmla="*/ 13 h 166" name="T37"/>
                  <a:gd fmla="*/ 146 w 152" name="T38"/>
                  <a:gd fmla="*/ 27 h 166" name="T39"/>
                  <a:gd fmla="*/ 152 w 152" name="T40"/>
                  <a:gd fmla="*/ 49 h 166" name="T41"/>
                  <a:gd fmla="*/ 113 w 152" name="T42"/>
                  <a:gd fmla="*/ 119 h 166" name="T43"/>
                  <a:gd fmla="*/ 113 w 152" name="T44"/>
                  <a:gd fmla="*/ 49 h 166" name="T45"/>
                  <a:gd fmla="*/ 104 w 152" name="T46"/>
                  <a:gd fmla="*/ 32 h 166" name="T47"/>
                  <a:gd fmla="*/ 76 w 152" name="T48"/>
                  <a:gd fmla="*/ 28 h 166" name="T49"/>
                  <a:gd fmla="*/ 47 w 152" name="T50"/>
                  <a:gd fmla="*/ 32 h 166" name="T51"/>
                  <a:gd fmla="*/ 38 w 152" name="T52"/>
                  <a:gd fmla="*/ 49 h 166" name="T53"/>
                  <a:gd fmla="*/ 38 w 152" name="T54"/>
                  <a:gd fmla="*/ 119 h 166" name="T55"/>
                  <a:gd fmla="*/ 41 w 152" name="T56"/>
                  <a:gd fmla="*/ 129 h 166" name="T57"/>
                  <a:gd fmla="*/ 51 w 152" name="T58"/>
                  <a:gd fmla="*/ 135 h 166" name="T59"/>
                  <a:gd fmla="*/ 62 w 152" name="T60"/>
                  <a:gd fmla="*/ 138 h 166" name="T61"/>
                  <a:gd fmla="*/ 76 w 152" name="T62"/>
                  <a:gd fmla="*/ 138 h 166" name="T63"/>
                  <a:gd fmla="*/ 90 w 152" name="T64"/>
                  <a:gd fmla="*/ 138 h 166" name="T65"/>
                  <a:gd fmla="*/ 101 w 152" name="T66"/>
                  <a:gd fmla="*/ 135 h 166" name="T67"/>
                  <a:gd fmla="*/ 110 w 152" name="T68"/>
                  <a:gd fmla="*/ 129 h 166" name="T69"/>
                  <a:gd fmla="*/ 113 w 152" name="T70"/>
                  <a:gd fmla="*/ 119 h 166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6" w="152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6 h 163" name="T3"/>
                  <a:gd fmla="*/ 70 w 139" name="T4"/>
                  <a:gd fmla="*/ 163 h 163" name="T5"/>
                  <a:gd fmla="*/ 0 w 139" name="T6"/>
                  <a:gd fmla="*/ 116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6 h 163" name="T13"/>
                  <a:gd fmla="*/ 46 w 139" name="T14"/>
                  <a:gd fmla="*/ 131 h 163" name="T15"/>
                  <a:gd fmla="*/ 70 w 139" name="T16"/>
                  <a:gd fmla="*/ 135 h 163" name="T17"/>
                  <a:gd fmla="*/ 94 w 139" name="T18"/>
                  <a:gd fmla="*/ 131 h 163" name="T19"/>
                  <a:gd fmla="*/ 101 w 139" name="T20"/>
                  <a:gd fmla="*/ 116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2 w 142" name="T18"/>
                  <a:gd fmla="*/ 34 h 160" name="T19"/>
                  <a:gd fmla="*/ 132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fmla="*/ 126 w 126" name="T0"/>
                  <a:gd fmla="*/ 160 h 166" name="T1"/>
                  <a:gd fmla="*/ 74 w 126" name="T2"/>
                  <a:gd fmla="*/ 166 h 166" name="T3"/>
                  <a:gd fmla="*/ 56 w 126" name="T4"/>
                  <a:gd fmla="*/ 165 h 166" name="T5"/>
                  <a:gd fmla="*/ 36 w 126" name="T6"/>
                  <a:gd fmla="*/ 161 h 166" name="T7"/>
                  <a:gd fmla="*/ 18 w 126" name="T8"/>
                  <a:gd fmla="*/ 153 h 166" name="T9"/>
                  <a:gd fmla="*/ 5 w 126" name="T10"/>
                  <a:gd fmla="*/ 140 h 166" name="T11"/>
                  <a:gd fmla="*/ 0 w 126" name="T12"/>
                  <a:gd fmla="*/ 119 h 166" name="T13"/>
                  <a:gd fmla="*/ 0 w 126" name="T14"/>
                  <a:gd fmla="*/ 49 h 166" name="T15"/>
                  <a:gd fmla="*/ 74 w 126" name="T16"/>
                  <a:gd fmla="*/ 0 h 166" name="T17"/>
                  <a:gd fmla="*/ 125 w 126" name="T18"/>
                  <a:gd fmla="*/ 6 h 166" name="T19"/>
                  <a:gd fmla="*/ 125 w 126" name="T20"/>
                  <a:gd fmla="*/ 35 h 166" name="T21"/>
                  <a:gd fmla="*/ 75 w 126" name="T22"/>
                  <a:gd fmla="*/ 28 h 166" name="T23"/>
                  <a:gd fmla="*/ 61 w 126" name="T24"/>
                  <a:gd fmla="*/ 28 h 166" name="T25"/>
                  <a:gd fmla="*/ 50 w 126" name="T26"/>
                  <a:gd fmla="*/ 31 h 166" name="T27"/>
                  <a:gd fmla="*/ 41 w 126" name="T28"/>
                  <a:gd fmla="*/ 37 h 166" name="T29"/>
                  <a:gd fmla="*/ 39 w 126" name="T30"/>
                  <a:gd fmla="*/ 48 h 166" name="T31"/>
                  <a:gd fmla="*/ 39 w 126" name="T32"/>
                  <a:gd fmla="*/ 116 h 166" name="T33"/>
                  <a:gd fmla="*/ 78 w 126" name="T34"/>
                  <a:gd fmla="*/ 138 h 166" name="T35"/>
                  <a:gd fmla="*/ 126 w 126" name="T36"/>
                  <a:gd fmla="*/ 131 h 166" name="T37"/>
                  <a:gd fmla="*/ 126 w 126" name="T38"/>
                  <a:gd fmla="*/ 160 h 166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6" w="12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fmla="*/ 302 w 302" name="T0"/>
                  <a:gd fmla="*/ 385 h 385" name="T1"/>
                  <a:gd fmla="*/ 0 w 302" name="T2"/>
                  <a:gd fmla="*/ 385 h 385" name="T3"/>
                  <a:gd fmla="*/ 0 w 302" name="T4"/>
                  <a:gd fmla="*/ 0 h 385" name="T5"/>
                  <a:gd fmla="*/ 294 w 302" name="T6"/>
                  <a:gd fmla="*/ 0 h 385" name="T7"/>
                  <a:gd fmla="*/ 294 w 302" name="T8"/>
                  <a:gd fmla="*/ 65 h 385" name="T9"/>
                  <a:gd fmla="*/ 94 w 302" name="T10"/>
                  <a:gd fmla="*/ 65 h 385" name="T11"/>
                  <a:gd fmla="*/ 94 w 302" name="T12"/>
                  <a:gd fmla="*/ 154 h 385" name="T13"/>
                  <a:gd fmla="*/ 275 w 302" name="T14"/>
                  <a:gd fmla="*/ 154 h 385" name="T15"/>
                  <a:gd fmla="*/ 275 w 302" name="T16"/>
                  <a:gd fmla="*/ 219 h 385" name="T17"/>
                  <a:gd fmla="*/ 94 w 302" name="T18"/>
                  <a:gd fmla="*/ 219 h 385" name="T19"/>
                  <a:gd fmla="*/ 94 w 302" name="T20"/>
                  <a:gd fmla="*/ 320 h 385" name="T21"/>
                  <a:gd fmla="*/ 302 w 302" name="T22"/>
                  <a:gd fmla="*/ 320 h 385" name="T23"/>
                  <a:gd fmla="*/ 302 w 302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302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0 w 131" name="T6"/>
                  <a:gd fmla="*/ 156 h 166" name="T7"/>
                  <a:gd fmla="*/ 88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0 w 131" name="T16"/>
                  <a:gd fmla="*/ 138 h 166" name="T17"/>
                  <a:gd fmla="*/ 92 w 131" name="T18"/>
                  <a:gd fmla="*/ 122 h 166" name="T19"/>
                  <a:gd fmla="*/ 92 w 131" name="T20"/>
                  <a:gd fmla="*/ 111 h 166" name="T21"/>
                  <a:gd fmla="*/ 88 w 131" name="T22"/>
                  <a:gd fmla="*/ 100 h 166" name="T23"/>
                  <a:gd fmla="*/ 71 w 131" name="T24"/>
                  <a:gd fmla="*/ 95 h 166" name="T25"/>
                  <a:gd fmla="*/ 52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7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1 w 131" name="T40"/>
                  <a:gd fmla="*/ 28 h 166" name="T41"/>
                  <a:gd fmla="*/ 45 w 131" name="T42"/>
                  <a:gd fmla="*/ 31 h 166" name="T43"/>
                  <a:gd fmla="*/ 38 w 131" name="T44"/>
                  <a:gd fmla="*/ 42 h 166" name="T45"/>
                  <a:gd fmla="*/ 38 w 131" name="T46"/>
                  <a:gd fmla="*/ 53 h 166" name="T47"/>
                  <a:gd fmla="*/ 59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fmla="*/ 147 w 147" name="T0"/>
                  <a:gd fmla="*/ 155 h 165" name="T1"/>
                  <a:gd fmla="*/ 115 w 147" name="T2"/>
                  <a:gd fmla="*/ 162 h 165" name="T3"/>
                  <a:gd fmla="*/ 80 w 147" name="T4"/>
                  <a:gd fmla="*/ 165 h 165" name="T5"/>
                  <a:gd fmla="*/ 56 w 147" name="T6"/>
                  <a:gd fmla="*/ 164 h 165" name="T7"/>
                  <a:gd fmla="*/ 34 w 147" name="T8"/>
                  <a:gd fmla="*/ 160 h 165" name="T9"/>
                  <a:gd fmla="*/ 16 w 147" name="T10"/>
                  <a:gd fmla="*/ 152 h 165" name="T11"/>
                  <a:gd fmla="*/ 5 w 147" name="T12"/>
                  <a:gd fmla="*/ 138 h 165" name="T13"/>
                  <a:gd fmla="*/ 0 w 147" name="T14"/>
                  <a:gd fmla="*/ 119 h 165" name="T15"/>
                  <a:gd fmla="*/ 0 w 147" name="T16"/>
                  <a:gd fmla="*/ 52 h 165" name="T17"/>
                  <a:gd fmla="*/ 5 w 147" name="T18"/>
                  <a:gd fmla="*/ 30 h 165" name="T19"/>
                  <a:gd fmla="*/ 18 w 147" name="T20"/>
                  <a:gd fmla="*/ 15 h 165" name="T21"/>
                  <a:gd fmla="*/ 37 w 147" name="T22"/>
                  <a:gd fmla="*/ 6 h 165" name="T23"/>
                  <a:gd fmla="*/ 59 w 147" name="T24"/>
                  <a:gd fmla="*/ 1 h 165" name="T25"/>
                  <a:gd fmla="*/ 80 w 147" name="T26"/>
                  <a:gd fmla="*/ 0 h 165" name="T27"/>
                  <a:gd fmla="*/ 146 w 147" name="T28"/>
                  <a:gd fmla="*/ 5 h 165" name="T29"/>
                  <a:gd fmla="*/ 146 w 147" name="T30"/>
                  <a:gd fmla="*/ 34 h 165" name="T31"/>
                  <a:gd fmla="*/ 80 w 147" name="T32"/>
                  <a:gd fmla="*/ 27 h 165" name="T33"/>
                  <a:gd fmla="*/ 39 w 147" name="T34"/>
                  <a:gd fmla="*/ 51 h 165" name="T35"/>
                  <a:gd fmla="*/ 39 w 147" name="T36"/>
                  <a:gd fmla="*/ 116 h 165" name="T37"/>
                  <a:gd fmla="*/ 50 w 147" name="T38"/>
                  <a:gd fmla="*/ 133 h 165" name="T39"/>
                  <a:gd fmla="*/ 84 w 147" name="T40"/>
                  <a:gd fmla="*/ 138 h 165" name="T41"/>
                  <a:gd fmla="*/ 110 w 147" name="T42"/>
                  <a:gd fmla="*/ 134 h 165" name="T43"/>
                  <a:gd fmla="*/ 110 w 147" name="T44"/>
                  <a:gd fmla="*/ 97 h 165" name="T45"/>
                  <a:gd fmla="*/ 84 w 147" name="T46"/>
                  <a:gd fmla="*/ 97 h 165" name="T47"/>
                  <a:gd fmla="*/ 84 w 147" name="T48"/>
                  <a:gd fmla="*/ 71 h 165" name="T49"/>
                  <a:gd fmla="*/ 147 w 147" name="T50"/>
                  <a:gd fmla="*/ 71 h 165" name="T51"/>
                  <a:gd fmla="*/ 147 w 147" name="T52"/>
                  <a:gd fmla="*/ 155 h 165" name="T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b="b" l="0" r="r" t="0"/>
                <a:pathLst>
                  <a:path h="165" w="147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1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1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fmla="*/ 152 w 152" name="T0"/>
                  <a:gd fmla="*/ 48 h 165" name="T1"/>
                  <a:gd fmla="*/ 152 w 152" name="T2"/>
                  <a:gd fmla="*/ 119 h 165" name="T3"/>
                  <a:gd fmla="*/ 145 w 152" name="T4"/>
                  <a:gd fmla="*/ 142 h 165" name="T5"/>
                  <a:gd fmla="*/ 126 w 152" name="T6"/>
                  <a:gd fmla="*/ 156 h 165" name="T7"/>
                  <a:gd fmla="*/ 102 w 152" name="T8"/>
                  <a:gd fmla="*/ 163 h 165" name="T9"/>
                  <a:gd fmla="*/ 76 w 152" name="T10"/>
                  <a:gd fmla="*/ 165 h 165" name="T11"/>
                  <a:gd fmla="*/ 52 w 152" name="T12"/>
                  <a:gd fmla="*/ 163 h 165" name="T13"/>
                  <a:gd fmla="*/ 28 w 152" name="T14"/>
                  <a:gd fmla="*/ 157 h 165" name="T15"/>
                  <a:gd fmla="*/ 8 w 152" name="T16"/>
                  <a:gd fmla="*/ 143 h 165" name="T17"/>
                  <a:gd fmla="*/ 0 w 152" name="T18"/>
                  <a:gd fmla="*/ 119 h 165" name="T19"/>
                  <a:gd fmla="*/ 0 w 152" name="T20"/>
                  <a:gd fmla="*/ 48 h 165" name="T21"/>
                  <a:gd fmla="*/ 6 w 152" name="T22"/>
                  <a:gd fmla="*/ 27 h 165" name="T23"/>
                  <a:gd fmla="*/ 19 w 152" name="T24"/>
                  <a:gd fmla="*/ 12 h 165" name="T25"/>
                  <a:gd fmla="*/ 38 w 152" name="T26"/>
                  <a:gd fmla="*/ 4 h 165" name="T27"/>
                  <a:gd fmla="*/ 58 w 152" name="T28"/>
                  <a:gd fmla="*/ 0 h 165" name="T29"/>
                  <a:gd fmla="*/ 76 w 152" name="T30"/>
                  <a:gd fmla="*/ 0 h 165" name="T31"/>
                  <a:gd fmla="*/ 95 w 152" name="T32"/>
                  <a:gd fmla="*/ 0 h 165" name="T33"/>
                  <a:gd fmla="*/ 115 w 152" name="T34"/>
                  <a:gd fmla="*/ 4 h 165" name="T35"/>
                  <a:gd fmla="*/ 134 w 152" name="T36"/>
                  <a:gd fmla="*/ 12 h 165" name="T37"/>
                  <a:gd fmla="*/ 147 w 152" name="T38"/>
                  <a:gd fmla="*/ 27 h 165" name="T39"/>
                  <a:gd fmla="*/ 152 w 152" name="T40"/>
                  <a:gd fmla="*/ 48 h 165" name="T41"/>
                  <a:gd fmla="*/ 114 w 152" name="T42"/>
                  <a:gd fmla="*/ 119 h 165" name="T43"/>
                  <a:gd fmla="*/ 114 w 152" name="T44"/>
                  <a:gd fmla="*/ 48 h 165" name="T45"/>
                  <a:gd fmla="*/ 104 w 152" name="T46"/>
                  <a:gd fmla="*/ 32 h 165" name="T47"/>
                  <a:gd fmla="*/ 76 w 152" name="T48"/>
                  <a:gd fmla="*/ 27 h 165" name="T49"/>
                  <a:gd fmla="*/ 48 w 152" name="T50"/>
                  <a:gd fmla="*/ 32 h 165" name="T51"/>
                  <a:gd fmla="*/ 39 w 152" name="T52"/>
                  <a:gd fmla="*/ 48 h 165" name="T53"/>
                  <a:gd fmla="*/ 39 w 152" name="T54"/>
                  <a:gd fmla="*/ 119 h 165" name="T55"/>
                  <a:gd fmla="*/ 42 w 152" name="T56"/>
                  <a:gd fmla="*/ 129 h 165" name="T57"/>
                  <a:gd fmla="*/ 51 w 152" name="T58"/>
                  <a:gd fmla="*/ 135 h 165" name="T59"/>
                  <a:gd fmla="*/ 63 w 152" name="T60"/>
                  <a:gd fmla="*/ 137 h 165" name="T61"/>
                  <a:gd fmla="*/ 77 w 152" name="T62"/>
                  <a:gd fmla="*/ 138 h 165" name="T63"/>
                  <a:gd fmla="*/ 90 w 152" name="T64"/>
                  <a:gd fmla="*/ 137 h 165" name="T65"/>
                  <a:gd fmla="*/ 102 w 152" name="T66"/>
                  <a:gd fmla="*/ 135 h 165" name="T67"/>
                  <a:gd fmla="*/ 111 w 152" name="T68"/>
                  <a:gd fmla="*/ 129 h 165" name="T69"/>
                  <a:gd fmla="*/ 114 w 152" name="T70"/>
                  <a:gd fmla="*/ 119 h 165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5" w="152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70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4 w 139" name="T18"/>
                  <a:gd fmla="*/ 132 h 163" name="T19"/>
                  <a:gd fmla="*/ 101 w 139" name="T20"/>
                  <a:gd fmla="*/ 117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fmla="*/ 128 w 128" name="T0"/>
                  <a:gd fmla="*/ 37 h 161" name="T1"/>
                  <a:gd fmla="*/ 128 w 128" name="T2"/>
                  <a:gd fmla="*/ 67 h 161" name="T3"/>
                  <a:gd fmla="*/ 112 w 128" name="T4"/>
                  <a:gd fmla="*/ 100 h 161" name="T5"/>
                  <a:gd fmla="*/ 60 w 128" name="T6"/>
                  <a:gd fmla="*/ 108 h 161" name="T7"/>
                  <a:gd fmla="*/ 39 w 128" name="T8"/>
                  <a:gd fmla="*/ 108 h 161" name="T9"/>
                  <a:gd fmla="*/ 39 w 128" name="T10"/>
                  <a:gd fmla="*/ 161 h 161" name="T11"/>
                  <a:gd fmla="*/ 0 w 128" name="T12"/>
                  <a:gd fmla="*/ 161 h 161" name="T13"/>
                  <a:gd fmla="*/ 0 w 128" name="T14"/>
                  <a:gd fmla="*/ 0 h 161" name="T15"/>
                  <a:gd fmla="*/ 65 w 128" name="T16"/>
                  <a:gd fmla="*/ 0 h 161" name="T17"/>
                  <a:gd fmla="*/ 113 w 128" name="T18"/>
                  <a:gd fmla="*/ 8 h 161" name="T19"/>
                  <a:gd fmla="*/ 128 w 128" name="T20"/>
                  <a:gd fmla="*/ 37 h 161" name="T21"/>
                  <a:gd fmla="*/ 91 w 128" name="T22"/>
                  <a:gd fmla="*/ 66 h 161" name="T23"/>
                  <a:gd fmla="*/ 91 w 128" name="T24"/>
                  <a:gd fmla="*/ 40 h 161" name="T25"/>
                  <a:gd fmla="*/ 85 w 128" name="T26"/>
                  <a:gd fmla="*/ 30 h 161" name="T27"/>
                  <a:gd fmla="*/ 63 w 128" name="T28"/>
                  <a:gd fmla="*/ 28 h 161" name="T29"/>
                  <a:gd fmla="*/ 39 w 128" name="T30"/>
                  <a:gd fmla="*/ 28 h 161" name="T31"/>
                  <a:gd fmla="*/ 39 w 128" name="T32"/>
                  <a:gd fmla="*/ 82 h 161" name="T33"/>
                  <a:gd fmla="*/ 63 w 128" name="T34"/>
                  <a:gd fmla="*/ 82 h 161" name="T35"/>
                  <a:gd fmla="*/ 85 w 128" name="T36"/>
                  <a:gd fmla="*/ 78 h 161" name="T37"/>
                  <a:gd fmla="*/ 91 w 128" name="T38"/>
                  <a:gd fmla="*/ 66 h 161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1" w="128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fmla="*/ 299 w 299" name="T0"/>
                  <a:gd fmla="*/ 388 h 388" name="T1"/>
                  <a:gd fmla="*/ 0 w 299" name="T2"/>
                  <a:gd fmla="*/ 388 h 388" name="T3"/>
                  <a:gd fmla="*/ 0 w 299" name="T4"/>
                  <a:gd fmla="*/ 0 h 388" name="T5"/>
                  <a:gd fmla="*/ 294 w 299" name="T6"/>
                  <a:gd fmla="*/ 0 h 388" name="T7"/>
                  <a:gd fmla="*/ 294 w 299" name="T8"/>
                  <a:gd fmla="*/ 68 h 388" name="T9"/>
                  <a:gd fmla="*/ 92 w 299" name="T10"/>
                  <a:gd fmla="*/ 68 h 388" name="T11"/>
                  <a:gd fmla="*/ 92 w 299" name="T12"/>
                  <a:gd fmla="*/ 157 h 388" name="T13"/>
                  <a:gd fmla="*/ 275 w 299" name="T14"/>
                  <a:gd fmla="*/ 157 h 388" name="T15"/>
                  <a:gd fmla="*/ 275 w 299" name="T16"/>
                  <a:gd fmla="*/ 222 h 388" name="T17"/>
                  <a:gd fmla="*/ 92 w 299" name="T18"/>
                  <a:gd fmla="*/ 222 h 388" name="T19"/>
                  <a:gd fmla="*/ 92 w 299" name="T20"/>
                  <a:gd fmla="*/ 321 h 388" name="T21"/>
                  <a:gd fmla="*/ 299 w 299" name="T22"/>
                  <a:gd fmla="*/ 321 h 388" name="T23"/>
                  <a:gd fmla="*/ 299 w 299" name="T24"/>
                  <a:gd fmla="*/ 388 h 388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8" w="299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69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8 w 139" name="T10"/>
                  <a:gd fmla="*/ 0 h 163" name="T11"/>
                  <a:gd fmla="*/ 38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3 w 139" name="T18"/>
                  <a:gd fmla="*/ 132 h 163" name="T19"/>
                  <a:gd fmla="*/ 100 w 139" name="T20"/>
                  <a:gd fmla="*/ 117 h 163" name="T21"/>
                  <a:gd fmla="*/ 100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2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2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fmla="*/ 131 w 131" name="T0"/>
                  <a:gd fmla="*/ 106 h 165" name="T1"/>
                  <a:gd fmla="*/ 131 w 131" name="T2"/>
                  <a:gd fmla="*/ 117 h 165" name="T3"/>
                  <a:gd fmla="*/ 126 w 131" name="T4"/>
                  <a:gd fmla="*/ 141 h 165" name="T5"/>
                  <a:gd fmla="*/ 111 w 131" name="T6"/>
                  <a:gd fmla="*/ 156 h 165" name="T7"/>
                  <a:gd fmla="*/ 88 w 131" name="T8"/>
                  <a:gd fmla="*/ 163 h 165" name="T9"/>
                  <a:gd fmla="*/ 60 w 131" name="T10"/>
                  <a:gd fmla="*/ 165 h 165" name="T11"/>
                  <a:gd fmla="*/ 3 w 131" name="T12"/>
                  <a:gd fmla="*/ 161 h 165" name="T13"/>
                  <a:gd fmla="*/ 3 w 131" name="T14"/>
                  <a:gd fmla="*/ 131 h 165" name="T15"/>
                  <a:gd fmla="*/ 60 w 131" name="T16"/>
                  <a:gd fmla="*/ 138 h 165" name="T17"/>
                  <a:gd fmla="*/ 92 w 131" name="T18"/>
                  <a:gd fmla="*/ 121 h 165" name="T19"/>
                  <a:gd fmla="*/ 92 w 131" name="T20"/>
                  <a:gd fmla="*/ 111 h 165" name="T21"/>
                  <a:gd fmla="*/ 88 w 131" name="T22"/>
                  <a:gd fmla="*/ 99 h 165" name="T23"/>
                  <a:gd fmla="*/ 71 w 131" name="T24"/>
                  <a:gd fmla="*/ 94 h 165" name="T25"/>
                  <a:gd fmla="*/ 53 w 131" name="T26"/>
                  <a:gd fmla="*/ 94 h 165" name="T27"/>
                  <a:gd fmla="*/ 0 w 131" name="T28"/>
                  <a:gd fmla="*/ 53 h 165" name="T29"/>
                  <a:gd fmla="*/ 0 w 131" name="T30"/>
                  <a:gd fmla="*/ 41 h 165" name="T31"/>
                  <a:gd fmla="*/ 17 w 131" name="T32"/>
                  <a:gd fmla="*/ 10 h 165" name="T33"/>
                  <a:gd fmla="*/ 73 w 131" name="T34"/>
                  <a:gd fmla="*/ 0 h 165" name="T35"/>
                  <a:gd fmla="*/ 123 w 131" name="T36"/>
                  <a:gd fmla="*/ 3 h 165" name="T37"/>
                  <a:gd fmla="*/ 123 w 131" name="T38"/>
                  <a:gd fmla="*/ 32 h 165" name="T39"/>
                  <a:gd fmla="*/ 72 w 131" name="T40"/>
                  <a:gd fmla="*/ 27 h 165" name="T41"/>
                  <a:gd fmla="*/ 46 w 131" name="T42"/>
                  <a:gd fmla="*/ 31 h 165" name="T43"/>
                  <a:gd fmla="*/ 38 w 131" name="T44"/>
                  <a:gd fmla="*/ 41 h 165" name="T45"/>
                  <a:gd fmla="*/ 38 w 131" name="T46"/>
                  <a:gd fmla="*/ 53 h 165" name="T47"/>
                  <a:gd fmla="*/ 60 w 131" name="T48"/>
                  <a:gd fmla="*/ 65 h 165" name="T49"/>
                  <a:gd fmla="*/ 79 w 131" name="T50"/>
                  <a:gd fmla="*/ 65 h 165" name="T51"/>
                  <a:gd fmla="*/ 119 w 131" name="T52"/>
                  <a:gd fmla="*/ 76 h 165" name="T53"/>
                  <a:gd fmla="*/ 131 w 131" name="T54"/>
                  <a:gd fmla="*/ 106 h 165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5" w="131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fmla="*/ 364 w 364" name="T0"/>
                  <a:gd fmla="*/ 388 h 388" name="T1"/>
                  <a:gd fmla="*/ 270 w 364" name="T2"/>
                  <a:gd fmla="*/ 388 h 388" name="T3"/>
                  <a:gd fmla="*/ 82 w 364" name="T4"/>
                  <a:gd fmla="*/ 121 h 388" name="T5"/>
                  <a:gd fmla="*/ 82 w 364" name="T6"/>
                  <a:gd fmla="*/ 388 h 388" name="T7"/>
                  <a:gd fmla="*/ 0 w 364" name="T8"/>
                  <a:gd fmla="*/ 388 h 388" name="T9"/>
                  <a:gd fmla="*/ 0 w 364" name="T10"/>
                  <a:gd fmla="*/ 0 h 388" name="T11"/>
                  <a:gd fmla="*/ 94 w 364" name="T12"/>
                  <a:gd fmla="*/ 0 h 388" name="T13"/>
                  <a:gd fmla="*/ 279 w 364" name="T14"/>
                  <a:gd fmla="*/ 265 h 388" name="T15"/>
                  <a:gd fmla="*/ 279 w 364" name="T16"/>
                  <a:gd fmla="*/ 0 h 388" name="T17"/>
                  <a:gd fmla="*/ 364 w 364" name="T18"/>
                  <a:gd fmla="*/ 0 h 388" name="T19"/>
                  <a:gd fmla="*/ 364 w 364" name="T20"/>
                  <a:gd fmla="*/ 388 h 388" name="T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b="b" l="0" r="r" t="0"/>
                <a:pathLst>
                  <a:path h="388" w="364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</p:grpSp>
      </p:grp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cstate="screen"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024205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927830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27804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4209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6" name="Text Placeholder 5"/>
          <p:cNvSpPr>
            <a:spLocks noGrp="1"/>
          </p:cNvSpPr>
          <p:nvPr>
            <p:ph hasCustomPrompt="1" idx="10" sz="quarter" type="body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anchor="b" anchorCtr="0" bIns="0" lIns="0" rIns="0" tIns="0"/>
          <a:lstStyle>
            <a:lvl1pPr indent="0" marL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indent="0" marL="291586">
              <a:buNone/>
              <a:defRPr/>
            </a:lvl2pPr>
            <a:lvl3pPr indent="0" marL="583171">
              <a:buNone/>
              <a:defRPr/>
            </a:lvl3pPr>
            <a:lvl4pPr indent="0" marL="874756">
              <a:buNone/>
              <a:defRPr/>
            </a:lvl4pPr>
            <a:lvl5pPr indent="0" marL="1166341">
              <a:buNone/>
              <a:defRPr/>
            </a:lvl5pPr>
          </a:lstStyle>
          <a:p>
            <a:pPr lvl="0"/>
            <a:r>
              <a:rPr dirty="0"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54108970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7476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46143352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</p:spTree>
    <p:extLst>
      <p:ext uri="{BB962C8B-B14F-4D97-AF65-F5344CB8AC3E}">
        <p14:creationId xmlns:p14="http://schemas.microsoft.com/office/powerpoint/2010/main" val="231581102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51747222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77682894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144224600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hasCustomPrompt="1" idx="14" sz="quarter" type="pic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63050244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52032127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43273175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hasCustomPrompt="1" idx="14" sz="quarter" type="body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hasCustomPrompt="1" idx="15" sz="quarter" type="pic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hasCustomPrompt="1" idx="18" sz="quarter" type="body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hasCustomPrompt="1" idx="19" sz="quarter" type="pic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hasCustomPrompt="1" idx="22" sz="quarter" type="body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1" name="Picture Placeholder 8"/>
          <p:cNvSpPr>
            <a:spLocks noGrp="1"/>
          </p:cNvSpPr>
          <p:nvPr>
            <p:ph hasCustomPrompt="1" idx="23" sz="quarter" type="pic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hasCustomPrompt="1" idx="26" sz="quarter" type="body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5" name="Picture Placeholder 8"/>
          <p:cNvSpPr>
            <a:spLocks noGrp="1"/>
          </p:cNvSpPr>
          <p:nvPr>
            <p:ph hasCustomPrompt="1" idx="27" sz="quarter" type="pic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189405166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328707101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48607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4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7" name="Rectangle 6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compatLnSpc="1" forceAA="0" fromWordArt="0" horzOverflow="overflow" lIns="0" numCol="1" rIns="0" rot="0" rtlCol="0" spcCol="0" spcFirstLastPara="0" tIns="0" vert="horz" vertOverflow="overflow" wrap="none">
            <a:prstTxWarp prst="textNoShape">
              <a:avLst/>
            </a:prstTxWarp>
            <a:noAutofit/>
          </a:bodyPr>
          <a:lstStyle/>
          <a:p>
            <a:pPr algn="ctr"/>
            <a:endParaRPr dirty="0" lang="en-US">
              <a:solidFill>
                <a:srgbClr val="32373C"/>
              </a:solidFill>
              <a:sym charset="0" panose="020B0604020202020204" pitchFamily="34"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0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hasCustomPrompt="1" idx="13" sz="quarter" type="body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anchor="b" anchorCtr="0"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sz="18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hasCustomPrompt="1" idx="12" sz="quarter" type="body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1" baseline="0" sz="24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3 w 142" name="T18"/>
                  <a:gd fmla="*/ 34 h 160" name="T19"/>
                  <a:gd fmla="*/ 133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fmla="*/ 298 w 298" name="T0"/>
                  <a:gd fmla="*/ 385 h 385" name="T1"/>
                  <a:gd fmla="*/ 0 w 298" name="T2"/>
                  <a:gd fmla="*/ 385 h 385" name="T3"/>
                  <a:gd fmla="*/ 0 w 298" name="T4"/>
                  <a:gd fmla="*/ 0 h 385" name="T5"/>
                  <a:gd fmla="*/ 294 w 298" name="T6"/>
                  <a:gd fmla="*/ 0 h 385" name="T7"/>
                  <a:gd fmla="*/ 294 w 298" name="T8"/>
                  <a:gd fmla="*/ 65 h 385" name="T9"/>
                  <a:gd fmla="*/ 91 w 298" name="T10"/>
                  <a:gd fmla="*/ 65 h 385" name="T11"/>
                  <a:gd fmla="*/ 91 w 298" name="T12"/>
                  <a:gd fmla="*/ 154 h 385" name="T13"/>
                  <a:gd fmla="*/ 274 w 298" name="T14"/>
                  <a:gd fmla="*/ 154 h 385" name="T15"/>
                  <a:gd fmla="*/ 274 w 298" name="T16"/>
                  <a:gd fmla="*/ 219 h 385" name="T17"/>
                  <a:gd fmla="*/ 91 w 298" name="T18"/>
                  <a:gd fmla="*/ 219 h 385" name="T19"/>
                  <a:gd fmla="*/ 91 w 298" name="T20"/>
                  <a:gd fmla="*/ 320 h 385" name="T21"/>
                  <a:gd fmla="*/ 298 w 298" name="T22"/>
                  <a:gd fmla="*/ 320 h 385" name="T23"/>
                  <a:gd fmla="*/ 298 w 298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298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1 w 131" name="T6"/>
                  <a:gd fmla="*/ 156 h 166" name="T7"/>
                  <a:gd fmla="*/ 89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1 w 131" name="T16"/>
                  <a:gd fmla="*/ 138 h 166" name="T17"/>
                  <a:gd fmla="*/ 93 w 131" name="T18"/>
                  <a:gd fmla="*/ 122 h 166" name="T19"/>
                  <a:gd fmla="*/ 93 w 131" name="T20"/>
                  <a:gd fmla="*/ 111 h 166" name="T21"/>
                  <a:gd fmla="*/ 89 w 131" name="T22"/>
                  <a:gd fmla="*/ 100 h 166" name="T23"/>
                  <a:gd fmla="*/ 72 w 131" name="T24"/>
                  <a:gd fmla="*/ 95 h 166" name="T25"/>
                  <a:gd fmla="*/ 53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8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2 w 131" name="T40"/>
                  <a:gd fmla="*/ 28 h 166" name="T41"/>
                  <a:gd fmla="*/ 46 w 131" name="T42"/>
                  <a:gd fmla="*/ 31 h 166" name="T43"/>
                  <a:gd fmla="*/ 39 w 131" name="T44"/>
                  <a:gd fmla="*/ 42 h 166" name="T45"/>
                  <a:gd fmla="*/ 39 w 131" name="T46"/>
                  <a:gd fmla="*/ 53 h 166" name="T47"/>
                  <a:gd fmla="*/ 60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fmla="*/ 152 w 152" name="T0"/>
                  <a:gd fmla="*/ 49 h 166" name="T1"/>
                  <a:gd fmla="*/ 152 w 152" name="T2"/>
                  <a:gd fmla="*/ 119 h 166" name="T3"/>
                  <a:gd fmla="*/ 145 w 152" name="T4"/>
                  <a:gd fmla="*/ 142 h 166" name="T5"/>
                  <a:gd fmla="*/ 125 w 152" name="T6"/>
                  <a:gd fmla="*/ 157 h 166" name="T7"/>
                  <a:gd fmla="*/ 101 w 152" name="T8"/>
                  <a:gd fmla="*/ 164 h 166" name="T9"/>
                  <a:gd fmla="*/ 75 w 152" name="T10"/>
                  <a:gd fmla="*/ 166 h 166" name="T11"/>
                  <a:gd fmla="*/ 51 w 152" name="T12"/>
                  <a:gd fmla="*/ 164 h 166" name="T13"/>
                  <a:gd fmla="*/ 27 w 152" name="T14"/>
                  <a:gd fmla="*/ 158 h 166" name="T15"/>
                  <a:gd fmla="*/ 7 w 152" name="T16"/>
                  <a:gd fmla="*/ 144 h 166" name="T17"/>
                  <a:gd fmla="*/ 0 w 152" name="T18"/>
                  <a:gd fmla="*/ 119 h 166" name="T19"/>
                  <a:gd fmla="*/ 0 w 152" name="T20"/>
                  <a:gd fmla="*/ 49 h 166" name="T21"/>
                  <a:gd fmla="*/ 5 w 152" name="T22"/>
                  <a:gd fmla="*/ 27 h 166" name="T23"/>
                  <a:gd fmla="*/ 18 w 152" name="T24"/>
                  <a:gd fmla="*/ 13 h 166" name="T25"/>
                  <a:gd fmla="*/ 37 w 152" name="T26"/>
                  <a:gd fmla="*/ 5 h 166" name="T27"/>
                  <a:gd fmla="*/ 57 w 152" name="T28"/>
                  <a:gd fmla="*/ 1 h 166" name="T29"/>
                  <a:gd fmla="*/ 75 w 152" name="T30"/>
                  <a:gd fmla="*/ 0 h 166" name="T31"/>
                  <a:gd fmla="*/ 94 w 152" name="T32"/>
                  <a:gd fmla="*/ 1 h 166" name="T33"/>
                  <a:gd fmla="*/ 114 w 152" name="T34"/>
                  <a:gd fmla="*/ 5 h 166" name="T35"/>
                  <a:gd fmla="*/ 133 w 152" name="T36"/>
                  <a:gd fmla="*/ 13 h 166" name="T37"/>
                  <a:gd fmla="*/ 146 w 152" name="T38"/>
                  <a:gd fmla="*/ 27 h 166" name="T39"/>
                  <a:gd fmla="*/ 152 w 152" name="T40"/>
                  <a:gd fmla="*/ 49 h 166" name="T41"/>
                  <a:gd fmla="*/ 113 w 152" name="T42"/>
                  <a:gd fmla="*/ 119 h 166" name="T43"/>
                  <a:gd fmla="*/ 113 w 152" name="T44"/>
                  <a:gd fmla="*/ 49 h 166" name="T45"/>
                  <a:gd fmla="*/ 104 w 152" name="T46"/>
                  <a:gd fmla="*/ 32 h 166" name="T47"/>
                  <a:gd fmla="*/ 76 w 152" name="T48"/>
                  <a:gd fmla="*/ 28 h 166" name="T49"/>
                  <a:gd fmla="*/ 47 w 152" name="T50"/>
                  <a:gd fmla="*/ 32 h 166" name="T51"/>
                  <a:gd fmla="*/ 38 w 152" name="T52"/>
                  <a:gd fmla="*/ 49 h 166" name="T53"/>
                  <a:gd fmla="*/ 38 w 152" name="T54"/>
                  <a:gd fmla="*/ 119 h 166" name="T55"/>
                  <a:gd fmla="*/ 41 w 152" name="T56"/>
                  <a:gd fmla="*/ 129 h 166" name="T57"/>
                  <a:gd fmla="*/ 51 w 152" name="T58"/>
                  <a:gd fmla="*/ 135 h 166" name="T59"/>
                  <a:gd fmla="*/ 62 w 152" name="T60"/>
                  <a:gd fmla="*/ 138 h 166" name="T61"/>
                  <a:gd fmla="*/ 76 w 152" name="T62"/>
                  <a:gd fmla="*/ 138 h 166" name="T63"/>
                  <a:gd fmla="*/ 90 w 152" name="T64"/>
                  <a:gd fmla="*/ 138 h 166" name="T65"/>
                  <a:gd fmla="*/ 101 w 152" name="T66"/>
                  <a:gd fmla="*/ 135 h 166" name="T67"/>
                  <a:gd fmla="*/ 110 w 152" name="T68"/>
                  <a:gd fmla="*/ 129 h 166" name="T69"/>
                  <a:gd fmla="*/ 113 w 152" name="T70"/>
                  <a:gd fmla="*/ 119 h 166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6" w="152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6 h 163" name="T3"/>
                  <a:gd fmla="*/ 70 w 139" name="T4"/>
                  <a:gd fmla="*/ 163 h 163" name="T5"/>
                  <a:gd fmla="*/ 0 w 139" name="T6"/>
                  <a:gd fmla="*/ 116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6 h 163" name="T13"/>
                  <a:gd fmla="*/ 46 w 139" name="T14"/>
                  <a:gd fmla="*/ 131 h 163" name="T15"/>
                  <a:gd fmla="*/ 70 w 139" name="T16"/>
                  <a:gd fmla="*/ 135 h 163" name="T17"/>
                  <a:gd fmla="*/ 94 w 139" name="T18"/>
                  <a:gd fmla="*/ 131 h 163" name="T19"/>
                  <a:gd fmla="*/ 101 w 139" name="T20"/>
                  <a:gd fmla="*/ 116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2 w 142" name="T18"/>
                  <a:gd fmla="*/ 34 h 160" name="T19"/>
                  <a:gd fmla="*/ 132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fmla="*/ 126 w 126" name="T0"/>
                  <a:gd fmla="*/ 160 h 166" name="T1"/>
                  <a:gd fmla="*/ 74 w 126" name="T2"/>
                  <a:gd fmla="*/ 166 h 166" name="T3"/>
                  <a:gd fmla="*/ 56 w 126" name="T4"/>
                  <a:gd fmla="*/ 165 h 166" name="T5"/>
                  <a:gd fmla="*/ 36 w 126" name="T6"/>
                  <a:gd fmla="*/ 161 h 166" name="T7"/>
                  <a:gd fmla="*/ 18 w 126" name="T8"/>
                  <a:gd fmla="*/ 153 h 166" name="T9"/>
                  <a:gd fmla="*/ 5 w 126" name="T10"/>
                  <a:gd fmla="*/ 140 h 166" name="T11"/>
                  <a:gd fmla="*/ 0 w 126" name="T12"/>
                  <a:gd fmla="*/ 119 h 166" name="T13"/>
                  <a:gd fmla="*/ 0 w 126" name="T14"/>
                  <a:gd fmla="*/ 49 h 166" name="T15"/>
                  <a:gd fmla="*/ 74 w 126" name="T16"/>
                  <a:gd fmla="*/ 0 h 166" name="T17"/>
                  <a:gd fmla="*/ 125 w 126" name="T18"/>
                  <a:gd fmla="*/ 6 h 166" name="T19"/>
                  <a:gd fmla="*/ 125 w 126" name="T20"/>
                  <a:gd fmla="*/ 35 h 166" name="T21"/>
                  <a:gd fmla="*/ 75 w 126" name="T22"/>
                  <a:gd fmla="*/ 28 h 166" name="T23"/>
                  <a:gd fmla="*/ 61 w 126" name="T24"/>
                  <a:gd fmla="*/ 28 h 166" name="T25"/>
                  <a:gd fmla="*/ 50 w 126" name="T26"/>
                  <a:gd fmla="*/ 31 h 166" name="T27"/>
                  <a:gd fmla="*/ 41 w 126" name="T28"/>
                  <a:gd fmla="*/ 37 h 166" name="T29"/>
                  <a:gd fmla="*/ 39 w 126" name="T30"/>
                  <a:gd fmla="*/ 48 h 166" name="T31"/>
                  <a:gd fmla="*/ 39 w 126" name="T32"/>
                  <a:gd fmla="*/ 116 h 166" name="T33"/>
                  <a:gd fmla="*/ 78 w 126" name="T34"/>
                  <a:gd fmla="*/ 138 h 166" name="T35"/>
                  <a:gd fmla="*/ 126 w 126" name="T36"/>
                  <a:gd fmla="*/ 131 h 166" name="T37"/>
                  <a:gd fmla="*/ 126 w 126" name="T38"/>
                  <a:gd fmla="*/ 160 h 166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6" w="12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fmla="*/ 302 w 302" name="T0"/>
                  <a:gd fmla="*/ 385 h 385" name="T1"/>
                  <a:gd fmla="*/ 0 w 302" name="T2"/>
                  <a:gd fmla="*/ 385 h 385" name="T3"/>
                  <a:gd fmla="*/ 0 w 302" name="T4"/>
                  <a:gd fmla="*/ 0 h 385" name="T5"/>
                  <a:gd fmla="*/ 294 w 302" name="T6"/>
                  <a:gd fmla="*/ 0 h 385" name="T7"/>
                  <a:gd fmla="*/ 294 w 302" name="T8"/>
                  <a:gd fmla="*/ 65 h 385" name="T9"/>
                  <a:gd fmla="*/ 94 w 302" name="T10"/>
                  <a:gd fmla="*/ 65 h 385" name="T11"/>
                  <a:gd fmla="*/ 94 w 302" name="T12"/>
                  <a:gd fmla="*/ 154 h 385" name="T13"/>
                  <a:gd fmla="*/ 275 w 302" name="T14"/>
                  <a:gd fmla="*/ 154 h 385" name="T15"/>
                  <a:gd fmla="*/ 275 w 302" name="T16"/>
                  <a:gd fmla="*/ 219 h 385" name="T17"/>
                  <a:gd fmla="*/ 94 w 302" name="T18"/>
                  <a:gd fmla="*/ 219 h 385" name="T19"/>
                  <a:gd fmla="*/ 94 w 302" name="T20"/>
                  <a:gd fmla="*/ 320 h 385" name="T21"/>
                  <a:gd fmla="*/ 302 w 302" name="T22"/>
                  <a:gd fmla="*/ 320 h 385" name="T23"/>
                  <a:gd fmla="*/ 302 w 302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302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0 w 131" name="T6"/>
                  <a:gd fmla="*/ 156 h 166" name="T7"/>
                  <a:gd fmla="*/ 88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0 w 131" name="T16"/>
                  <a:gd fmla="*/ 138 h 166" name="T17"/>
                  <a:gd fmla="*/ 92 w 131" name="T18"/>
                  <a:gd fmla="*/ 122 h 166" name="T19"/>
                  <a:gd fmla="*/ 92 w 131" name="T20"/>
                  <a:gd fmla="*/ 111 h 166" name="T21"/>
                  <a:gd fmla="*/ 88 w 131" name="T22"/>
                  <a:gd fmla="*/ 100 h 166" name="T23"/>
                  <a:gd fmla="*/ 71 w 131" name="T24"/>
                  <a:gd fmla="*/ 95 h 166" name="T25"/>
                  <a:gd fmla="*/ 52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7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1 w 131" name="T40"/>
                  <a:gd fmla="*/ 28 h 166" name="T41"/>
                  <a:gd fmla="*/ 45 w 131" name="T42"/>
                  <a:gd fmla="*/ 31 h 166" name="T43"/>
                  <a:gd fmla="*/ 38 w 131" name="T44"/>
                  <a:gd fmla="*/ 42 h 166" name="T45"/>
                  <a:gd fmla="*/ 38 w 131" name="T46"/>
                  <a:gd fmla="*/ 53 h 166" name="T47"/>
                  <a:gd fmla="*/ 59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fmla="*/ 147 w 147" name="T0"/>
                  <a:gd fmla="*/ 155 h 165" name="T1"/>
                  <a:gd fmla="*/ 115 w 147" name="T2"/>
                  <a:gd fmla="*/ 162 h 165" name="T3"/>
                  <a:gd fmla="*/ 80 w 147" name="T4"/>
                  <a:gd fmla="*/ 165 h 165" name="T5"/>
                  <a:gd fmla="*/ 56 w 147" name="T6"/>
                  <a:gd fmla="*/ 164 h 165" name="T7"/>
                  <a:gd fmla="*/ 34 w 147" name="T8"/>
                  <a:gd fmla="*/ 160 h 165" name="T9"/>
                  <a:gd fmla="*/ 16 w 147" name="T10"/>
                  <a:gd fmla="*/ 152 h 165" name="T11"/>
                  <a:gd fmla="*/ 5 w 147" name="T12"/>
                  <a:gd fmla="*/ 138 h 165" name="T13"/>
                  <a:gd fmla="*/ 0 w 147" name="T14"/>
                  <a:gd fmla="*/ 119 h 165" name="T15"/>
                  <a:gd fmla="*/ 0 w 147" name="T16"/>
                  <a:gd fmla="*/ 52 h 165" name="T17"/>
                  <a:gd fmla="*/ 5 w 147" name="T18"/>
                  <a:gd fmla="*/ 30 h 165" name="T19"/>
                  <a:gd fmla="*/ 18 w 147" name="T20"/>
                  <a:gd fmla="*/ 15 h 165" name="T21"/>
                  <a:gd fmla="*/ 37 w 147" name="T22"/>
                  <a:gd fmla="*/ 6 h 165" name="T23"/>
                  <a:gd fmla="*/ 59 w 147" name="T24"/>
                  <a:gd fmla="*/ 1 h 165" name="T25"/>
                  <a:gd fmla="*/ 80 w 147" name="T26"/>
                  <a:gd fmla="*/ 0 h 165" name="T27"/>
                  <a:gd fmla="*/ 146 w 147" name="T28"/>
                  <a:gd fmla="*/ 5 h 165" name="T29"/>
                  <a:gd fmla="*/ 146 w 147" name="T30"/>
                  <a:gd fmla="*/ 34 h 165" name="T31"/>
                  <a:gd fmla="*/ 80 w 147" name="T32"/>
                  <a:gd fmla="*/ 27 h 165" name="T33"/>
                  <a:gd fmla="*/ 39 w 147" name="T34"/>
                  <a:gd fmla="*/ 51 h 165" name="T35"/>
                  <a:gd fmla="*/ 39 w 147" name="T36"/>
                  <a:gd fmla="*/ 116 h 165" name="T37"/>
                  <a:gd fmla="*/ 50 w 147" name="T38"/>
                  <a:gd fmla="*/ 133 h 165" name="T39"/>
                  <a:gd fmla="*/ 84 w 147" name="T40"/>
                  <a:gd fmla="*/ 138 h 165" name="T41"/>
                  <a:gd fmla="*/ 110 w 147" name="T42"/>
                  <a:gd fmla="*/ 134 h 165" name="T43"/>
                  <a:gd fmla="*/ 110 w 147" name="T44"/>
                  <a:gd fmla="*/ 97 h 165" name="T45"/>
                  <a:gd fmla="*/ 84 w 147" name="T46"/>
                  <a:gd fmla="*/ 97 h 165" name="T47"/>
                  <a:gd fmla="*/ 84 w 147" name="T48"/>
                  <a:gd fmla="*/ 71 h 165" name="T49"/>
                  <a:gd fmla="*/ 147 w 147" name="T50"/>
                  <a:gd fmla="*/ 71 h 165" name="T51"/>
                  <a:gd fmla="*/ 147 w 147" name="T52"/>
                  <a:gd fmla="*/ 155 h 165" name="T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b="b" l="0" r="r" t="0"/>
                <a:pathLst>
                  <a:path h="165" w="147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1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1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fmla="*/ 152 w 152" name="T0"/>
                  <a:gd fmla="*/ 48 h 165" name="T1"/>
                  <a:gd fmla="*/ 152 w 152" name="T2"/>
                  <a:gd fmla="*/ 119 h 165" name="T3"/>
                  <a:gd fmla="*/ 145 w 152" name="T4"/>
                  <a:gd fmla="*/ 142 h 165" name="T5"/>
                  <a:gd fmla="*/ 126 w 152" name="T6"/>
                  <a:gd fmla="*/ 156 h 165" name="T7"/>
                  <a:gd fmla="*/ 102 w 152" name="T8"/>
                  <a:gd fmla="*/ 163 h 165" name="T9"/>
                  <a:gd fmla="*/ 76 w 152" name="T10"/>
                  <a:gd fmla="*/ 165 h 165" name="T11"/>
                  <a:gd fmla="*/ 52 w 152" name="T12"/>
                  <a:gd fmla="*/ 163 h 165" name="T13"/>
                  <a:gd fmla="*/ 28 w 152" name="T14"/>
                  <a:gd fmla="*/ 157 h 165" name="T15"/>
                  <a:gd fmla="*/ 8 w 152" name="T16"/>
                  <a:gd fmla="*/ 143 h 165" name="T17"/>
                  <a:gd fmla="*/ 0 w 152" name="T18"/>
                  <a:gd fmla="*/ 119 h 165" name="T19"/>
                  <a:gd fmla="*/ 0 w 152" name="T20"/>
                  <a:gd fmla="*/ 48 h 165" name="T21"/>
                  <a:gd fmla="*/ 6 w 152" name="T22"/>
                  <a:gd fmla="*/ 27 h 165" name="T23"/>
                  <a:gd fmla="*/ 19 w 152" name="T24"/>
                  <a:gd fmla="*/ 12 h 165" name="T25"/>
                  <a:gd fmla="*/ 38 w 152" name="T26"/>
                  <a:gd fmla="*/ 4 h 165" name="T27"/>
                  <a:gd fmla="*/ 58 w 152" name="T28"/>
                  <a:gd fmla="*/ 0 h 165" name="T29"/>
                  <a:gd fmla="*/ 76 w 152" name="T30"/>
                  <a:gd fmla="*/ 0 h 165" name="T31"/>
                  <a:gd fmla="*/ 95 w 152" name="T32"/>
                  <a:gd fmla="*/ 0 h 165" name="T33"/>
                  <a:gd fmla="*/ 115 w 152" name="T34"/>
                  <a:gd fmla="*/ 4 h 165" name="T35"/>
                  <a:gd fmla="*/ 134 w 152" name="T36"/>
                  <a:gd fmla="*/ 12 h 165" name="T37"/>
                  <a:gd fmla="*/ 147 w 152" name="T38"/>
                  <a:gd fmla="*/ 27 h 165" name="T39"/>
                  <a:gd fmla="*/ 152 w 152" name="T40"/>
                  <a:gd fmla="*/ 48 h 165" name="T41"/>
                  <a:gd fmla="*/ 114 w 152" name="T42"/>
                  <a:gd fmla="*/ 119 h 165" name="T43"/>
                  <a:gd fmla="*/ 114 w 152" name="T44"/>
                  <a:gd fmla="*/ 48 h 165" name="T45"/>
                  <a:gd fmla="*/ 104 w 152" name="T46"/>
                  <a:gd fmla="*/ 32 h 165" name="T47"/>
                  <a:gd fmla="*/ 76 w 152" name="T48"/>
                  <a:gd fmla="*/ 27 h 165" name="T49"/>
                  <a:gd fmla="*/ 48 w 152" name="T50"/>
                  <a:gd fmla="*/ 32 h 165" name="T51"/>
                  <a:gd fmla="*/ 39 w 152" name="T52"/>
                  <a:gd fmla="*/ 48 h 165" name="T53"/>
                  <a:gd fmla="*/ 39 w 152" name="T54"/>
                  <a:gd fmla="*/ 119 h 165" name="T55"/>
                  <a:gd fmla="*/ 42 w 152" name="T56"/>
                  <a:gd fmla="*/ 129 h 165" name="T57"/>
                  <a:gd fmla="*/ 51 w 152" name="T58"/>
                  <a:gd fmla="*/ 135 h 165" name="T59"/>
                  <a:gd fmla="*/ 63 w 152" name="T60"/>
                  <a:gd fmla="*/ 137 h 165" name="T61"/>
                  <a:gd fmla="*/ 77 w 152" name="T62"/>
                  <a:gd fmla="*/ 138 h 165" name="T63"/>
                  <a:gd fmla="*/ 90 w 152" name="T64"/>
                  <a:gd fmla="*/ 137 h 165" name="T65"/>
                  <a:gd fmla="*/ 102 w 152" name="T66"/>
                  <a:gd fmla="*/ 135 h 165" name="T67"/>
                  <a:gd fmla="*/ 111 w 152" name="T68"/>
                  <a:gd fmla="*/ 129 h 165" name="T69"/>
                  <a:gd fmla="*/ 114 w 152" name="T70"/>
                  <a:gd fmla="*/ 119 h 165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5" w="152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70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4 w 139" name="T18"/>
                  <a:gd fmla="*/ 132 h 163" name="T19"/>
                  <a:gd fmla="*/ 101 w 139" name="T20"/>
                  <a:gd fmla="*/ 117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fmla="*/ 128 w 128" name="T0"/>
                  <a:gd fmla="*/ 37 h 161" name="T1"/>
                  <a:gd fmla="*/ 128 w 128" name="T2"/>
                  <a:gd fmla="*/ 67 h 161" name="T3"/>
                  <a:gd fmla="*/ 112 w 128" name="T4"/>
                  <a:gd fmla="*/ 100 h 161" name="T5"/>
                  <a:gd fmla="*/ 60 w 128" name="T6"/>
                  <a:gd fmla="*/ 108 h 161" name="T7"/>
                  <a:gd fmla="*/ 39 w 128" name="T8"/>
                  <a:gd fmla="*/ 108 h 161" name="T9"/>
                  <a:gd fmla="*/ 39 w 128" name="T10"/>
                  <a:gd fmla="*/ 161 h 161" name="T11"/>
                  <a:gd fmla="*/ 0 w 128" name="T12"/>
                  <a:gd fmla="*/ 161 h 161" name="T13"/>
                  <a:gd fmla="*/ 0 w 128" name="T14"/>
                  <a:gd fmla="*/ 0 h 161" name="T15"/>
                  <a:gd fmla="*/ 65 w 128" name="T16"/>
                  <a:gd fmla="*/ 0 h 161" name="T17"/>
                  <a:gd fmla="*/ 113 w 128" name="T18"/>
                  <a:gd fmla="*/ 8 h 161" name="T19"/>
                  <a:gd fmla="*/ 128 w 128" name="T20"/>
                  <a:gd fmla="*/ 37 h 161" name="T21"/>
                  <a:gd fmla="*/ 91 w 128" name="T22"/>
                  <a:gd fmla="*/ 66 h 161" name="T23"/>
                  <a:gd fmla="*/ 91 w 128" name="T24"/>
                  <a:gd fmla="*/ 40 h 161" name="T25"/>
                  <a:gd fmla="*/ 85 w 128" name="T26"/>
                  <a:gd fmla="*/ 30 h 161" name="T27"/>
                  <a:gd fmla="*/ 63 w 128" name="T28"/>
                  <a:gd fmla="*/ 28 h 161" name="T29"/>
                  <a:gd fmla="*/ 39 w 128" name="T30"/>
                  <a:gd fmla="*/ 28 h 161" name="T31"/>
                  <a:gd fmla="*/ 39 w 128" name="T32"/>
                  <a:gd fmla="*/ 82 h 161" name="T33"/>
                  <a:gd fmla="*/ 63 w 128" name="T34"/>
                  <a:gd fmla="*/ 82 h 161" name="T35"/>
                  <a:gd fmla="*/ 85 w 128" name="T36"/>
                  <a:gd fmla="*/ 78 h 161" name="T37"/>
                  <a:gd fmla="*/ 91 w 128" name="T38"/>
                  <a:gd fmla="*/ 66 h 161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1" w="128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fmla="*/ 299 w 299" name="T0"/>
                  <a:gd fmla="*/ 388 h 388" name="T1"/>
                  <a:gd fmla="*/ 0 w 299" name="T2"/>
                  <a:gd fmla="*/ 388 h 388" name="T3"/>
                  <a:gd fmla="*/ 0 w 299" name="T4"/>
                  <a:gd fmla="*/ 0 h 388" name="T5"/>
                  <a:gd fmla="*/ 294 w 299" name="T6"/>
                  <a:gd fmla="*/ 0 h 388" name="T7"/>
                  <a:gd fmla="*/ 294 w 299" name="T8"/>
                  <a:gd fmla="*/ 68 h 388" name="T9"/>
                  <a:gd fmla="*/ 92 w 299" name="T10"/>
                  <a:gd fmla="*/ 68 h 388" name="T11"/>
                  <a:gd fmla="*/ 92 w 299" name="T12"/>
                  <a:gd fmla="*/ 157 h 388" name="T13"/>
                  <a:gd fmla="*/ 275 w 299" name="T14"/>
                  <a:gd fmla="*/ 157 h 388" name="T15"/>
                  <a:gd fmla="*/ 275 w 299" name="T16"/>
                  <a:gd fmla="*/ 222 h 388" name="T17"/>
                  <a:gd fmla="*/ 92 w 299" name="T18"/>
                  <a:gd fmla="*/ 222 h 388" name="T19"/>
                  <a:gd fmla="*/ 92 w 299" name="T20"/>
                  <a:gd fmla="*/ 321 h 388" name="T21"/>
                  <a:gd fmla="*/ 299 w 299" name="T22"/>
                  <a:gd fmla="*/ 321 h 388" name="T23"/>
                  <a:gd fmla="*/ 299 w 299" name="T24"/>
                  <a:gd fmla="*/ 388 h 388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8" w="299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69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8 w 139" name="T10"/>
                  <a:gd fmla="*/ 0 h 163" name="T11"/>
                  <a:gd fmla="*/ 38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3 w 139" name="T18"/>
                  <a:gd fmla="*/ 132 h 163" name="T19"/>
                  <a:gd fmla="*/ 100 w 139" name="T20"/>
                  <a:gd fmla="*/ 117 h 163" name="T21"/>
                  <a:gd fmla="*/ 100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2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2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fmla="*/ 131 w 131" name="T0"/>
                  <a:gd fmla="*/ 106 h 165" name="T1"/>
                  <a:gd fmla="*/ 131 w 131" name="T2"/>
                  <a:gd fmla="*/ 117 h 165" name="T3"/>
                  <a:gd fmla="*/ 126 w 131" name="T4"/>
                  <a:gd fmla="*/ 141 h 165" name="T5"/>
                  <a:gd fmla="*/ 111 w 131" name="T6"/>
                  <a:gd fmla="*/ 156 h 165" name="T7"/>
                  <a:gd fmla="*/ 88 w 131" name="T8"/>
                  <a:gd fmla="*/ 163 h 165" name="T9"/>
                  <a:gd fmla="*/ 60 w 131" name="T10"/>
                  <a:gd fmla="*/ 165 h 165" name="T11"/>
                  <a:gd fmla="*/ 3 w 131" name="T12"/>
                  <a:gd fmla="*/ 161 h 165" name="T13"/>
                  <a:gd fmla="*/ 3 w 131" name="T14"/>
                  <a:gd fmla="*/ 131 h 165" name="T15"/>
                  <a:gd fmla="*/ 60 w 131" name="T16"/>
                  <a:gd fmla="*/ 138 h 165" name="T17"/>
                  <a:gd fmla="*/ 92 w 131" name="T18"/>
                  <a:gd fmla="*/ 121 h 165" name="T19"/>
                  <a:gd fmla="*/ 92 w 131" name="T20"/>
                  <a:gd fmla="*/ 111 h 165" name="T21"/>
                  <a:gd fmla="*/ 88 w 131" name="T22"/>
                  <a:gd fmla="*/ 99 h 165" name="T23"/>
                  <a:gd fmla="*/ 71 w 131" name="T24"/>
                  <a:gd fmla="*/ 94 h 165" name="T25"/>
                  <a:gd fmla="*/ 53 w 131" name="T26"/>
                  <a:gd fmla="*/ 94 h 165" name="T27"/>
                  <a:gd fmla="*/ 0 w 131" name="T28"/>
                  <a:gd fmla="*/ 53 h 165" name="T29"/>
                  <a:gd fmla="*/ 0 w 131" name="T30"/>
                  <a:gd fmla="*/ 41 h 165" name="T31"/>
                  <a:gd fmla="*/ 17 w 131" name="T32"/>
                  <a:gd fmla="*/ 10 h 165" name="T33"/>
                  <a:gd fmla="*/ 73 w 131" name="T34"/>
                  <a:gd fmla="*/ 0 h 165" name="T35"/>
                  <a:gd fmla="*/ 123 w 131" name="T36"/>
                  <a:gd fmla="*/ 3 h 165" name="T37"/>
                  <a:gd fmla="*/ 123 w 131" name="T38"/>
                  <a:gd fmla="*/ 32 h 165" name="T39"/>
                  <a:gd fmla="*/ 72 w 131" name="T40"/>
                  <a:gd fmla="*/ 27 h 165" name="T41"/>
                  <a:gd fmla="*/ 46 w 131" name="T42"/>
                  <a:gd fmla="*/ 31 h 165" name="T43"/>
                  <a:gd fmla="*/ 38 w 131" name="T44"/>
                  <a:gd fmla="*/ 41 h 165" name="T45"/>
                  <a:gd fmla="*/ 38 w 131" name="T46"/>
                  <a:gd fmla="*/ 53 h 165" name="T47"/>
                  <a:gd fmla="*/ 60 w 131" name="T48"/>
                  <a:gd fmla="*/ 65 h 165" name="T49"/>
                  <a:gd fmla="*/ 79 w 131" name="T50"/>
                  <a:gd fmla="*/ 65 h 165" name="T51"/>
                  <a:gd fmla="*/ 119 w 131" name="T52"/>
                  <a:gd fmla="*/ 76 h 165" name="T53"/>
                  <a:gd fmla="*/ 131 w 131" name="T54"/>
                  <a:gd fmla="*/ 106 h 165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5" w="131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fmla="*/ 364 w 364" name="T0"/>
                  <a:gd fmla="*/ 388 h 388" name="T1"/>
                  <a:gd fmla="*/ 270 w 364" name="T2"/>
                  <a:gd fmla="*/ 388 h 388" name="T3"/>
                  <a:gd fmla="*/ 82 w 364" name="T4"/>
                  <a:gd fmla="*/ 121 h 388" name="T5"/>
                  <a:gd fmla="*/ 82 w 364" name="T6"/>
                  <a:gd fmla="*/ 388 h 388" name="T7"/>
                  <a:gd fmla="*/ 0 w 364" name="T8"/>
                  <a:gd fmla="*/ 388 h 388" name="T9"/>
                  <a:gd fmla="*/ 0 w 364" name="T10"/>
                  <a:gd fmla="*/ 0 h 388" name="T11"/>
                  <a:gd fmla="*/ 94 w 364" name="T12"/>
                  <a:gd fmla="*/ 0 h 388" name="T13"/>
                  <a:gd fmla="*/ 279 w 364" name="T14"/>
                  <a:gd fmla="*/ 265 h 388" name="T15"/>
                  <a:gd fmla="*/ 279 w 364" name="T16"/>
                  <a:gd fmla="*/ 0 h 388" name="T17"/>
                  <a:gd fmla="*/ 364 w 364" name="T18"/>
                  <a:gd fmla="*/ 0 h 388" name="T19"/>
                  <a:gd fmla="*/ 364 w 364" name="T20"/>
                  <a:gd fmla="*/ 388 h 388" name="T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b="b" l="0" r="r" t="0"/>
                <a:pathLst>
                  <a:path h="388" w="364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</p:grpSp>
      </p:grp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cstate="screen"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61723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962080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776503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4209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6" name="Text Placeholder 5"/>
          <p:cNvSpPr>
            <a:spLocks noGrp="1"/>
          </p:cNvSpPr>
          <p:nvPr>
            <p:ph hasCustomPrompt="1" idx="10" sz="quarter" type="body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anchor="b" anchorCtr="0" bIns="0" lIns="0" rIns="0" tIns="0"/>
          <a:lstStyle>
            <a:lvl1pPr indent="0" marL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indent="0" marL="291586">
              <a:buNone/>
              <a:defRPr/>
            </a:lvl2pPr>
            <a:lvl3pPr indent="0" marL="583171">
              <a:buNone/>
              <a:defRPr/>
            </a:lvl3pPr>
            <a:lvl4pPr indent="0" marL="874756">
              <a:buNone/>
              <a:defRPr/>
            </a:lvl4pPr>
            <a:lvl5pPr indent="0" marL="1166341">
              <a:buNone/>
              <a:defRPr/>
            </a:lvl5pPr>
          </a:lstStyle>
          <a:p>
            <a:pPr lvl="0"/>
            <a:r>
              <a:rPr dirty="0"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44684836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320023852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</p:spTree>
    <p:extLst>
      <p:ext uri="{BB962C8B-B14F-4D97-AF65-F5344CB8AC3E}">
        <p14:creationId xmlns:p14="http://schemas.microsoft.com/office/powerpoint/2010/main" val="334567631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12238537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82796651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228548281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hasCustomPrompt="1" idx="14" sz="quarter" type="pic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3934393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4209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6" name="Text Placeholder 5"/>
          <p:cNvSpPr>
            <a:spLocks noGrp="1"/>
          </p:cNvSpPr>
          <p:nvPr>
            <p:ph hasCustomPrompt="1" idx="10" sz="quarter" type="body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anchor="b" anchorCtr="0" bIns="0" lIns="0" rIns="0" tIns="0"/>
          <a:lstStyle>
            <a:lvl1pPr indent="0" marL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indent="0" marL="291586">
              <a:buNone/>
              <a:defRPr/>
            </a:lvl2pPr>
            <a:lvl3pPr indent="0" marL="583171">
              <a:buNone/>
              <a:defRPr/>
            </a:lvl3pPr>
            <a:lvl4pPr indent="0" marL="874756">
              <a:buNone/>
              <a:defRPr/>
            </a:lvl4pPr>
            <a:lvl5pPr indent="0" marL="1166341">
              <a:buNone/>
              <a:defRPr/>
            </a:lvl5pPr>
          </a:lstStyle>
          <a:p>
            <a:pPr lvl="0"/>
            <a:r>
              <a:rPr dirty="0"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210277529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25950991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53364222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hasCustomPrompt="1" idx="14" sz="quarter" type="body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hasCustomPrompt="1" idx="15" sz="quarter" type="pic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hasCustomPrompt="1" idx="18" sz="quarter" type="body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hasCustomPrompt="1" idx="19" sz="quarter" type="pic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hasCustomPrompt="1" idx="22" sz="quarter" type="body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1" name="Picture Placeholder 8"/>
          <p:cNvSpPr>
            <a:spLocks noGrp="1"/>
          </p:cNvSpPr>
          <p:nvPr>
            <p:ph hasCustomPrompt="1" idx="23" sz="quarter" type="pic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hasCustomPrompt="1" idx="26" sz="quarter" type="body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5" name="Picture Placeholder 8"/>
          <p:cNvSpPr>
            <a:spLocks noGrp="1"/>
          </p:cNvSpPr>
          <p:nvPr>
            <p:ph hasCustomPrompt="1" idx="27" sz="quarter" type="pic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196984319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284978246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4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7" name="Rectangle 6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compatLnSpc="1" forceAA="0" fromWordArt="0" horzOverflow="overflow" lIns="0" numCol="1" rIns="0" rot="0" rtlCol="0" spcCol="0" spcFirstLastPara="0" tIns="0" vert="horz" vertOverflow="overflow" wrap="none">
            <a:prstTxWarp prst="textNoShape">
              <a:avLst/>
            </a:prstTxWarp>
            <a:noAutofit/>
          </a:bodyPr>
          <a:lstStyle/>
          <a:p>
            <a:pPr algn="ctr"/>
            <a:endParaRPr dirty="0" lang="en-US">
              <a:solidFill>
                <a:srgbClr val="32373C"/>
              </a:solidFill>
              <a:sym charset="0" panose="020B0604020202020204" pitchFamily="34"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0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hasCustomPrompt="1" idx="13" sz="quarter" type="body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anchor="b" anchorCtr="0"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sz="18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hasCustomPrompt="1" idx="12" sz="quarter" type="body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1" baseline="0" sz="24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3 w 142" name="T18"/>
                  <a:gd fmla="*/ 34 h 160" name="T19"/>
                  <a:gd fmla="*/ 133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fmla="*/ 298 w 298" name="T0"/>
                  <a:gd fmla="*/ 385 h 385" name="T1"/>
                  <a:gd fmla="*/ 0 w 298" name="T2"/>
                  <a:gd fmla="*/ 385 h 385" name="T3"/>
                  <a:gd fmla="*/ 0 w 298" name="T4"/>
                  <a:gd fmla="*/ 0 h 385" name="T5"/>
                  <a:gd fmla="*/ 294 w 298" name="T6"/>
                  <a:gd fmla="*/ 0 h 385" name="T7"/>
                  <a:gd fmla="*/ 294 w 298" name="T8"/>
                  <a:gd fmla="*/ 65 h 385" name="T9"/>
                  <a:gd fmla="*/ 91 w 298" name="T10"/>
                  <a:gd fmla="*/ 65 h 385" name="T11"/>
                  <a:gd fmla="*/ 91 w 298" name="T12"/>
                  <a:gd fmla="*/ 154 h 385" name="T13"/>
                  <a:gd fmla="*/ 274 w 298" name="T14"/>
                  <a:gd fmla="*/ 154 h 385" name="T15"/>
                  <a:gd fmla="*/ 274 w 298" name="T16"/>
                  <a:gd fmla="*/ 219 h 385" name="T17"/>
                  <a:gd fmla="*/ 91 w 298" name="T18"/>
                  <a:gd fmla="*/ 219 h 385" name="T19"/>
                  <a:gd fmla="*/ 91 w 298" name="T20"/>
                  <a:gd fmla="*/ 320 h 385" name="T21"/>
                  <a:gd fmla="*/ 298 w 298" name="T22"/>
                  <a:gd fmla="*/ 320 h 385" name="T23"/>
                  <a:gd fmla="*/ 298 w 298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298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1 w 131" name="T6"/>
                  <a:gd fmla="*/ 156 h 166" name="T7"/>
                  <a:gd fmla="*/ 89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1 w 131" name="T16"/>
                  <a:gd fmla="*/ 138 h 166" name="T17"/>
                  <a:gd fmla="*/ 93 w 131" name="T18"/>
                  <a:gd fmla="*/ 122 h 166" name="T19"/>
                  <a:gd fmla="*/ 93 w 131" name="T20"/>
                  <a:gd fmla="*/ 111 h 166" name="T21"/>
                  <a:gd fmla="*/ 89 w 131" name="T22"/>
                  <a:gd fmla="*/ 100 h 166" name="T23"/>
                  <a:gd fmla="*/ 72 w 131" name="T24"/>
                  <a:gd fmla="*/ 95 h 166" name="T25"/>
                  <a:gd fmla="*/ 53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8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2 w 131" name="T40"/>
                  <a:gd fmla="*/ 28 h 166" name="T41"/>
                  <a:gd fmla="*/ 46 w 131" name="T42"/>
                  <a:gd fmla="*/ 31 h 166" name="T43"/>
                  <a:gd fmla="*/ 39 w 131" name="T44"/>
                  <a:gd fmla="*/ 42 h 166" name="T45"/>
                  <a:gd fmla="*/ 39 w 131" name="T46"/>
                  <a:gd fmla="*/ 53 h 166" name="T47"/>
                  <a:gd fmla="*/ 60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fmla="*/ 152 w 152" name="T0"/>
                  <a:gd fmla="*/ 49 h 166" name="T1"/>
                  <a:gd fmla="*/ 152 w 152" name="T2"/>
                  <a:gd fmla="*/ 119 h 166" name="T3"/>
                  <a:gd fmla="*/ 145 w 152" name="T4"/>
                  <a:gd fmla="*/ 142 h 166" name="T5"/>
                  <a:gd fmla="*/ 125 w 152" name="T6"/>
                  <a:gd fmla="*/ 157 h 166" name="T7"/>
                  <a:gd fmla="*/ 101 w 152" name="T8"/>
                  <a:gd fmla="*/ 164 h 166" name="T9"/>
                  <a:gd fmla="*/ 75 w 152" name="T10"/>
                  <a:gd fmla="*/ 166 h 166" name="T11"/>
                  <a:gd fmla="*/ 51 w 152" name="T12"/>
                  <a:gd fmla="*/ 164 h 166" name="T13"/>
                  <a:gd fmla="*/ 27 w 152" name="T14"/>
                  <a:gd fmla="*/ 158 h 166" name="T15"/>
                  <a:gd fmla="*/ 7 w 152" name="T16"/>
                  <a:gd fmla="*/ 144 h 166" name="T17"/>
                  <a:gd fmla="*/ 0 w 152" name="T18"/>
                  <a:gd fmla="*/ 119 h 166" name="T19"/>
                  <a:gd fmla="*/ 0 w 152" name="T20"/>
                  <a:gd fmla="*/ 49 h 166" name="T21"/>
                  <a:gd fmla="*/ 5 w 152" name="T22"/>
                  <a:gd fmla="*/ 27 h 166" name="T23"/>
                  <a:gd fmla="*/ 18 w 152" name="T24"/>
                  <a:gd fmla="*/ 13 h 166" name="T25"/>
                  <a:gd fmla="*/ 37 w 152" name="T26"/>
                  <a:gd fmla="*/ 5 h 166" name="T27"/>
                  <a:gd fmla="*/ 57 w 152" name="T28"/>
                  <a:gd fmla="*/ 1 h 166" name="T29"/>
                  <a:gd fmla="*/ 75 w 152" name="T30"/>
                  <a:gd fmla="*/ 0 h 166" name="T31"/>
                  <a:gd fmla="*/ 94 w 152" name="T32"/>
                  <a:gd fmla="*/ 1 h 166" name="T33"/>
                  <a:gd fmla="*/ 114 w 152" name="T34"/>
                  <a:gd fmla="*/ 5 h 166" name="T35"/>
                  <a:gd fmla="*/ 133 w 152" name="T36"/>
                  <a:gd fmla="*/ 13 h 166" name="T37"/>
                  <a:gd fmla="*/ 146 w 152" name="T38"/>
                  <a:gd fmla="*/ 27 h 166" name="T39"/>
                  <a:gd fmla="*/ 152 w 152" name="T40"/>
                  <a:gd fmla="*/ 49 h 166" name="T41"/>
                  <a:gd fmla="*/ 113 w 152" name="T42"/>
                  <a:gd fmla="*/ 119 h 166" name="T43"/>
                  <a:gd fmla="*/ 113 w 152" name="T44"/>
                  <a:gd fmla="*/ 49 h 166" name="T45"/>
                  <a:gd fmla="*/ 104 w 152" name="T46"/>
                  <a:gd fmla="*/ 32 h 166" name="T47"/>
                  <a:gd fmla="*/ 76 w 152" name="T48"/>
                  <a:gd fmla="*/ 28 h 166" name="T49"/>
                  <a:gd fmla="*/ 47 w 152" name="T50"/>
                  <a:gd fmla="*/ 32 h 166" name="T51"/>
                  <a:gd fmla="*/ 38 w 152" name="T52"/>
                  <a:gd fmla="*/ 49 h 166" name="T53"/>
                  <a:gd fmla="*/ 38 w 152" name="T54"/>
                  <a:gd fmla="*/ 119 h 166" name="T55"/>
                  <a:gd fmla="*/ 41 w 152" name="T56"/>
                  <a:gd fmla="*/ 129 h 166" name="T57"/>
                  <a:gd fmla="*/ 51 w 152" name="T58"/>
                  <a:gd fmla="*/ 135 h 166" name="T59"/>
                  <a:gd fmla="*/ 62 w 152" name="T60"/>
                  <a:gd fmla="*/ 138 h 166" name="T61"/>
                  <a:gd fmla="*/ 76 w 152" name="T62"/>
                  <a:gd fmla="*/ 138 h 166" name="T63"/>
                  <a:gd fmla="*/ 90 w 152" name="T64"/>
                  <a:gd fmla="*/ 138 h 166" name="T65"/>
                  <a:gd fmla="*/ 101 w 152" name="T66"/>
                  <a:gd fmla="*/ 135 h 166" name="T67"/>
                  <a:gd fmla="*/ 110 w 152" name="T68"/>
                  <a:gd fmla="*/ 129 h 166" name="T69"/>
                  <a:gd fmla="*/ 113 w 152" name="T70"/>
                  <a:gd fmla="*/ 119 h 166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6" w="152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6 h 163" name="T3"/>
                  <a:gd fmla="*/ 70 w 139" name="T4"/>
                  <a:gd fmla="*/ 163 h 163" name="T5"/>
                  <a:gd fmla="*/ 0 w 139" name="T6"/>
                  <a:gd fmla="*/ 116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6 h 163" name="T13"/>
                  <a:gd fmla="*/ 46 w 139" name="T14"/>
                  <a:gd fmla="*/ 131 h 163" name="T15"/>
                  <a:gd fmla="*/ 70 w 139" name="T16"/>
                  <a:gd fmla="*/ 135 h 163" name="T17"/>
                  <a:gd fmla="*/ 94 w 139" name="T18"/>
                  <a:gd fmla="*/ 131 h 163" name="T19"/>
                  <a:gd fmla="*/ 101 w 139" name="T20"/>
                  <a:gd fmla="*/ 116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2 w 142" name="T18"/>
                  <a:gd fmla="*/ 34 h 160" name="T19"/>
                  <a:gd fmla="*/ 132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fmla="*/ 126 w 126" name="T0"/>
                  <a:gd fmla="*/ 160 h 166" name="T1"/>
                  <a:gd fmla="*/ 74 w 126" name="T2"/>
                  <a:gd fmla="*/ 166 h 166" name="T3"/>
                  <a:gd fmla="*/ 56 w 126" name="T4"/>
                  <a:gd fmla="*/ 165 h 166" name="T5"/>
                  <a:gd fmla="*/ 36 w 126" name="T6"/>
                  <a:gd fmla="*/ 161 h 166" name="T7"/>
                  <a:gd fmla="*/ 18 w 126" name="T8"/>
                  <a:gd fmla="*/ 153 h 166" name="T9"/>
                  <a:gd fmla="*/ 5 w 126" name="T10"/>
                  <a:gd fmla="*/ 140 h 166" name="T11"/>
                  <a:gd fmla="*/ 0 w 126" name="T12"/>
                  <a:gd fmla="*/ 119 h 166" name="T13"/>
                  <a:gd fmla="*/ 0 w 126" name="T14"/>
                  <a:gd fmla="*/ 49 h 166" name="T15"/>
                  <a:gd fmla="*/ 74 w 126" name="T16"/>
                  <a:gd fmla="*/ 0 h 166" name="T17"/>
                  <a:gd fmla="*/ 125 w 126" name="T18"/>
                  <a:gd fmla="*/ 6 h 166" name="T19"/>
                  <a:gd fmla="*/ 125 w 126" name="T20"/>
                  <a:gd fmla="*/ 35 h 166" name="T21"/>
                  <a:gd fmla="*/ 75 w 126" name="T22"/>
                  <a:gd fmla="*/ 28 h 166" name="T23"/>
                  <a:gd fmla="*/ 61 w 126" name="T24"/>
                  <a:gd fmla="*/ 28 h 166" name="T25"/>
                  <a:gd fmla="*/ 50 w 126" name="T26"/>
                  <a:gd fmla="*/ 31 h 166" name="T27"/>
                  <a:gd fmla="*/ 41 w 126" name="T28"/>
                  <a:gd fmla="*/ 37 h 166" name="T29"/>
                  <a:gd fmla="*/ 39 w 126" name="T30"/>
                  <a:gd fmla="*/ 48 h 166" name="T31"/>
                  <a:gd fmla="*/ 39 w 126" name="T32"/>
                  <a:gd fmla="*/ 116 h 166" name="T33"/>
                  <a:gd fmla="*/ 78 w 126" name="T34"/>
                  <a:gd fmla="*/ 138 h 166" name="T35"/>
                  <a:gd fmla="*/ 126 w 126" name="T36"/>
                  <a:gd fmla="*/ 131 h 166" name="T37"/>
                  <a:gd fmla="*/ 126 w 126" name="T38"/>
                  <a:gd fmla="*/ 160 h 166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6" w="12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fmla="*/ 302 w 302" name="T0"/>
                  <a:gd fmla="*/ 385 h 385" name="T1"/>
                  <a:gd fmla="*/ 0 w 302" name="T2"/>
                  <a:gd fmla="*/ 385 h 385" name="T3"/>
                  <a:gd fmla="*/ 0 w 302" name="T4"/>
                  <a:gd fmla="*/ 0 h 385" name="T5"/>
                  <a:gd fmla="*/ 294 w 302" name="T6"/>
                  <a:gd fmla="*/ 0 h 385" name="T7"/>
                  <a:gd fmla="*/ 294 w 302" name="T8"/>
                  <a:gd fmla="*/ 65 h 385" name="T9"/>
                  <a:gd fmla="*/ 94 w 302" name="T10"/>
                  <a:gd fmla="*/ 65 h 385" name="T11"/>
                  <a:gd fmla="*/ 94 w 302" name="T12"/>
                  <a:gd fmla="*/ 154 h 385" name="T13"/>
                  <a:gd fmla="*/ 275 w 302" name="T14"/>
                  <a:gd fmla="*/ 154 h 385" name="T15"/>
                  <a:gd fmla="*/ 275 w 302" name="T16"/>
                  <a:gd fmla="*/ 219 h 385" name="T17"/>
                  <a:gd fmla="*/ 94 w 302" name="T18"/>
                  <a:gd fmla="*/ 219 h 385" name="T19"/>
                  <a:gd fmla="*/ 94 w 302" name="T20"/>
                  <a:gd fmla="*/ 320 h 385" name="T21"/>
                  <a:gd fmla="*/ 302 w 302" name="T22"/>
                  <a:gd fmla="*/ 320 h 385" name="T23"/>
                  <a:gd fmla="*/ 302 w 302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302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0 w 131" name="T6"/>
                  <a:gd fmla="*/ 156 h 166" name="T7"/>
                  <a:gd fmla="*/ 88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0 w 131" name="T16"/>
                  <a:gd fmla="*/ 138 h 166" name="T17"/>
                  <a:gd fmla="*/ 92 w 131" name="T18"/>
                  <a:gd fmla="*/ 122 h 166" name="T19"/>
                  <a:gd fmla="*/ 92 w 131" name="T20"/>
                  <a:gd fmla="*/ 111 h 166" name="T21"/>
                  <a:gd fmla="*/ 88 w 131" name="T22"/>
                  <a:gd fmla="*/ 100 h 166" name="T23"/>
                  <a:gd fmla="*/ 71 w 131" name="T24"/>
                  <a:gd fmla="*/ 95 h 166" name="T25"/>
                  <a:gd fmla="*/ 52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7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1 w 131" name="T40"/>
                  <a:gd fmla="*/ 28 h 166" name="T41"/>
                  <a:gd fmla="*/ 45 w 131" name="T42"/>
                  <a:gd fmla="*/ 31 h 166" name="T43"/>
                  <a:gd fmla="*/ 38 w 131" name="T44"/>
                  <a:gd fmla="*/ 42 h 166" name="T45"/>
                  <a:gd fmla="*/ 38 w 131" name="T46"/>
                  <a:gd fmla="*/ 53 h 166" name="T47"/>
                  <a:gd fmla="*/ 59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fmla="*/ 147 w 147" name="T0"/>
                  <a:gd fmla="*/ 155 h 165" name="T1"/>
                  <a:gd fmla="*/ 115 w 147" name="T2"/>
                  <a:gd fmla="*/ 162 h 165" name="T3"/>
                  <a:gd fmla="*/ 80 w 147" name="T4"/>
                  <a:gd fmla="*/ 165 h 165" name="T5"/>
                  <a:gd fmla="*/ 56 w 147" name="T6"/>
                  <a:gd fmla="*/ 164 h 165" name="T7"/>
                  <a:gd fmla="*/ 34 w 147" name="T8"/>
                  <a:gd fmla="*/ 160 h 165" name="T9"/>
                  <a:gd fmla="*/ 16 w 147" name="T10"/>
                  <a:gd fmla="*/ 152 h 165" name="T11"/>
                  <a:gd fmla="*/ 5 w 147" name="T12"/>
                  <a:gd fmla="*/ 138 h 165" name="T13"/>
                  <a:gd fmla="*/ 0 w 147" name="T14"/>
                  <a:gd fmla="*/ 119 h 165" name="T15"/>
                  <a:gd fmla="*/ 0 w 147" name="T16"/>
                  <a:gd fmla="*/ 52 h 165" name="T17"/>
                  <a:gd fmla="*/ 5 w 147" name="T18"/>
                  <a:gd fmla="*/ 30 h 165" name="T19"/>
                  <a:gd fmla="*/ 18 w 147" name="T20"/>
                  <a:gd fmla="*/ 15 h 165" name="T21"/>
                  <a:gd fmla="*/ 37 w 147" name="T22"/>
                  <a:gd fmla="*/ 6 h 165" name="T23"/>
                  <a:gd fmla="*/ 59 w 147" name="T24"/>
                  <a:gd fmla="*/ 1 h 165" name="T25"/>
                  <a:gd fmla="*/ 80 w 147" name="T26"/>
                  <a:gd fmla="*/ 0 h 165" name="T27"/>
                  <a:gd fmla="*/ 146 w 147" name="T28"/>
                  <a:gd fmla="*/ 5 h 165" name="T29"/>
                  <a:gd fmla="*/ 146 w 147" name="T30"/>
                  <a:gd fmla="*/ 34 h 165" name="T31"/>
                  <a:gd fmla="*/ 80 w 147" name="T32"/>
                  <a:gd fmla="*/ 27 h 165" name="T33"/>
                  <a:gd fmla="*/ 39 w 147" name="T34"/>
                  <a:gd fmla="*/ 51 h 165" name="T35"/>
                  <a:gd fmla="*/ 39 w 147" name="T36"/>
                  <a:gd fmla="*/ 116 h 165" name="T37"/>
                  <a:gd fmla="*/ 50 w 147" name="T38"/>
                  <a:gd fmla="*/ 133 h 165" name="T39"/>
                  <a:gd fmla="*/ 84 w 147" name="T40"/>
                  <a:gd fmla="*/ 138 h 165" name="T41"/>
                  <a:gd fmla="*/ 110 w 147" name="T42"/>
                  <a:gd fmla="*/ 134 h 165" name="T43"/>
                  <a:gd fmla="*/ 110 w 147" name="T44"/>
                  <a:gd fmla="*/ 97 h 165" name="T45"/>
                  <a:gd fmla="*/ 84 w 147" name="T46"/>
                  <a:gd fmla="*/ 97 h 165" name="T47"/>
                  <a:gd fmla="*/ 84 w 147" name="T48"/>
                  <a:gd fmla="*/ 71 h 165" name="T49"/>
                  <a:gd fmla="*/ 147 w 147" name="T50"/>
                  <a:gd fmla="*/ 71 h 165" name="T51"/>
                  <a:gd fmla="*/ 147 w 147" name="T52"/>
                  <a:gd fmla="*/ 155 h 165" name="T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b="b" l="0" r="r" t="0"/>
                <a:pathLst>
                  <a:path h="165" w="147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1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1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fmla="*/ 152 w 152" name="T0"/>
                  <a:gd fmla="*/ 48 h 165" name="T1"/>
                  <a:gd fmla="*/ 152 w 152" name="T2"/>
                  <a:gd fmla="*/ 119 h 165" name="T3"/>
                  <a:gd fmla="*/ 145 w 152" name="T4"/>
                  <a:gd fmla="*/ 142 h 165" name="T5"/>
                  <a:gd fmla="*/ 126 w 152" name="T6"/>
                  <a:gd fmla="*/ 156 h 165" name="T7"/>
                  <a:gd fmla="*/ 102 w 152" name="T8"/>
                  <a:gd fmla="*/ 163 h 165" name="T9"/>
                  <a:gd fmla="*/ 76 w 152" name="T10"/>
                  <a:gd fmla="*/ 165 h 165" name="T11"/>
                  <a:gd fmla="*/ 52 w 152" name="T12"/>
                  <a:gd fmla="*/ 163 h 165" name="T13"/>
                  <a:gd fmla="*/ 28 w 152" name="T14"/>
                  <a:gd fmla="*/ 157 h 165" name="T15"/>
                  <a:gd fmla="*/ 8 w 152" name="T16"/>
                  <a:gd fmla="*/ 143 h 165" name="T17"/>
                  <a:gd fmla="*/ 0 w 152" name="T18"/>
                  <a:gd fmla="*/ 119 h 165" name="T19"/>
                  <a:gd fmla="*/ 0 w 152" name="T20"/>
                  <a:gd fmla="*/ 48 h 165" name="T21"/>
                  <a:gd fmla="*/ 6 w 152" name="T22"/>
                  <a:gd fmla="*/ 27 h 165" name="T23"/>
                  <a:gd fmla="*/ 19 w 152" name="T24"/>
                  <a:gd fmla="*/ 12 h 165" name="T25"/>
                  <a:gd fmla="*/ 38 w 152" name="T26"/>
                  <a:gd fmla="*/ 4 h 165" name="T27"/>
                  <a:gd fmla="*/ 58 w 152" name="T28"/>
                  <a:gd fmla="*/ 0 h 165" name="T29"/>
                  <a:gd fmla="*/ 76 w 152" name="T30"/>
                  <a:gd fmla="*/ 0 h 165" name="T31"/>
                  <a:gd fmla="*/ 95 w 152" name="T32"/>
                  <a:gd fmla="*/ 0 h 165" name="T33"/>
                  <a:gd fmla="*/ 115 w 152" name="T34"/>
                  <a:gd fmla="*/ 4 h 165" name="T35"/>
                  <a:gd fmla="*/ 134 w 152" name="T36"/>
                  <a:gd fmla="*/ 12 h 165" name="T37"/>
                  <a:gd fmla="*/ 147 w 152" name="T38"/>
                  <a:gd fmla="*/ 27 h 165" name="T39"/>
                  <a:gd fmla="*/ 152 w 152" name="T40"/>
                  <a:gd fmla="*/ 48 h 165" name="T41"/>
                  <a:gd fmla="*/ 114 w 152" name="T42"/>
                  <a:gd fmla="*/ 119 h 165" name="T43"/>
                  <a:gd fmla="*/ 114 w 152" name="T44"/>
                  <a:gd fmla="*/ 48 h 165" name="T45"/>
                  <a:gd fmla="*/ 104 w 152" name="T46"/>
                  <a:gd fmla="*/ 32 h 165" name="T47"/>
                  <a:gd fmla="*/ 76 w 152" name="T48"/>
                  <a:gd fmla="*/ 27 h 165" name="T49"/>
                  <a:gd fmla="*/ 48 w 152" name="T50"/>
                  <a:gd fmla="*/ 32 h 165" name="T51"/>
                  <a:gd fmla="*/ 39 w 152" name="T52"/>
                  <a:gd fmla="*/ 48 h 165" name="T53"/>
                  <a:gd fmla="*/ 39 w 152" name="T54"/>
                  <a:gd fmla="*/ 119 h 165" name="T55"/>
                  <a:gd fmla="*/ 42 w 152" name="T56"/>
                  <a:gd fmla="*/ 129 h 165" name="T57"/>
                  <a:gd fmla="*/ 51 w 152" name="T58"/>
                  <a:gd fmla="*/ 135 h 165" name="T59"/>
                  <a:gd fmla="*/ 63 w 152" name="T60"/>
                  <a:gd fmla="*/ 137 h 165" name="T61"/>
                  <a:gd fmla="*/ 77 w 152" name="T62"/>
                  <a:gd fmla="*/ 138 h 165" name="T63"/>
                  <a:gd fmla="*/ 90 w 152" name="T64"/>
                  <a:gd fmla="*/ 137 h 165" name="T65"/>
                  <a:gd fmla="*/ 102 w 152" name="T66"/>
                  <a:gd fmla="*/ 135 h 165" name="T67"/>
                  <a:gd fmla="*/ 111 w 152" name="T68"/>
                  <a:gd fmla="*/ 129 h 165" name="T69"/>
                  <a:gd fmla="*/ 114 w 152" name="T70"/>
                  <a:gd fmla="*/ 119 h 165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5" w="152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70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4 w 139" name="T18"/>
                  <a:gd fmla="*/ 132 h 163" name="T19"/>
                  <a:gd fmla="*/ 101 w 139" name="T20"/>
                  <a:gd fmla="*/ 117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fmla="*/ 128 w 128" name="T0"/>
                  <a:gd fmla="*/ 37 h 161" name="T1"/>
                  <a:gd fmla="*/ 128 w 128" name="T2"/>
                  <a:gd fmla="*/ 67 h 161" name="T3"/>
                  <a:gd fmla="*/ 112 w 128" name="T4"/>
                  <a:gd fmla="*/ 100 h 161" name="T5"/>
                  <a:gd fmla="*/ 60 w 128" name="T6"/>
                  <a:gd fmla="*/ 108 h 161" name="T7"/>
                  <a:gd fmla="*/ 39 w 128" name="T8"/>
                  <a:gd fmla="*/ 108 h 161" name="T9"/>
                  <a:gd fmla="*/ 39 w 128" name="T10"/>
                  <a:gd fmla="*/ 161 h 161" name="T11"/>
                  <a:gd fmla="*/ 0 w 128" name="T12"/>
                  <a:gd fmla="*/ 161 h 161" name="T13"/>
                  <a:gd fmla="*/ 0 w 128" name="T14"/>
                  <a:gd fmla="*/ 0 h 161" name="T15"/>
                  <a:gd fmla="*/ 65 w 128" name="T16"/>
                  <a:gd fmla="*/ 0 h 161" name="T17"/>
                  <a:gd fmla="*/ 113 w 128" name="T18"/>
                  <a:gd fmla="*/ 8 h 161" name="T19"/>
                  <a:gd fmla="*/ 128 w 128" name="T20"/>
                  <a:gd fmla="*/ 37 h 161" name="T21"/>
                  <a:gd fmla="*/ 91 w 128" name="T22"/>
                  <a:gd fmla="*/ 66 h 161" name="T23"/>
                  <a:gd fmla="*/ 91 w 128" name="T24"/>
                  <a:gd fmla="*/ 40 h 161" name="T25"/>
                  <a:gd fmla="*/ 85 w 128" name="T26"/>
                  <a:gd fmla="*/ 30 h 161" name="T27"/>
                  <a:gd fmla="*/ 63 w 128" name="T28"/>
                  <a:gd fmla="*/ 28 h 161" name="T29"/>
                  <a:gd fmla="*/ 39 w 128" name="T30"/>
                  <a:gd fmla="*/ 28 h 161" name="T31"/>
                  <a:gd fmla="*/ 39 w 128" name="T32"/>
                  <a:gd fmla="*/ 82 h 161" name="T33"/>
                  <a:gd fmla="*/ 63 w 128" name="T34"/>
                  <a:gd fmla="*/ 82 h 161" name="T35"/>
                  <a:gd fmla="*/ 85 w 128" name="T36"/>
                  <a:gd fmla="*/ 78 h 161" name="T37"/>
                  <a:gd fmla="*/ 91 w 128" name="T38"/>
                  <a:gd fmla="*/ 66 h 161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1" w="128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fmla="*/ 299 w 299" name="T0"/>
                  <a:gd fmla="*/ 388 h 388" name="T1"/>
                  <a:gd fmla="*/ 0 w 299" name="T2"/>
                  <a:gd fmla="*/ 388 h 388" name="T3"/>
                  <a:gd fmla="*/ 0 w 299" name="T4"/>
                  <a:gd fmla="*/ 0 h 388" name="T5"/>
                  <a:gd fmla="*/ 294 w 299" name="T6"/>
                  <a:gd fmla="*/ 0 h 388" name="T7"/>
                  <a:gd fmla="*/ 294 w 299" name="T8"/>
                  <a:gd fmla="*/ 68 h 388" name="T9"/>
                  <a:gd fmla="*/ 92 w 299" name="T10"/>
                  <a:gd fmla="*/ 68 h 388" name="T11"/>
                  <a:gd fmla="*/ 92 w 299" name="T12"/>
                  <a:gd fmla="*/ 157 h 388" name="T13"/>
                  <a:gd fmla="*/ 275 w 299" name="T14"/>
                  <a:gd fmla="*/ 157 h 388" name="T15"/>
                  <a:gd fmla="*/ 275 w 299" name="T16"/>
                  <a:gd fmla="*/ 222 h 388" name="T17"/>
                  <a:gd fmla="*/ 92 w 299" name="T18"/>
                  <a:gd fmla="*/ 222 h 388" name="T19"/>
                  <a:gd fmla="*/ 92 w 299" name="T20"/>
                  <a:gd fmla="*/ 321 h 388" name="T21"/>
                  <a:gd fmla="*/ 299 w 299" name="T22"/>
                  <a:gd fmla="*/ 321 h 388" name="T23"/>
                  <a:gd fmla="*/ 299 w 299" name="T24"/>
                  <a:gd fmla="*/ 388 h 388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8" w="299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69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8 w 139" name="T10"/>
                  <a:gd fmla="*/ 0 h 163" name="T11"/>
                  <a:gd fmla="*/ 38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3 w 139" name="T18"/>
                  <a:gd fmla="*/ 132 h 163" name="T19"/>
                  <a:gd fmla="*/ 100 w 139" name="T20"/>
                  <a:gd fmla="*/ 117 h 163" name="T21"/>
                  <a:gd fmla="*/ 100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2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2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fmla="*/ 131 w 131" name="T0"/>
                  <a:gd fmla="*/ 106 h 165" name="T1"/>
                  <a:gd fmla="*/ 131 w 131" name="T2"/>
                  <a:gd fmla="*/ 117 h 165" name="T3"/>
                  <a:gd fmla="*/ 126 w 131" name="T4"/>
                  <a:gd fmla="*/ 141 h 165" name="T5"/>
                  <a:gd fmla="*/ 111 w 131" name="T6"/>
                  <a:gd fmla="*/ 156 h 165" name="T7"/>
                  <a:gd fmla="*/ 88 w 131" name="T8"/>
                  <a:gd fmla="*/ 163 h 165" name="T9"/>
                  <a:gd fmla="*/ 60 w 131" name="T10"/>
                  <a:gd fmla="*/ 165 h 165" name="T11"/>
                  <a:gd fmla="*/ 3 w 131" name="T12"/>
                  <a:gd fmla="*/ 161 h 165" name="T13"/>
                  <a:gd fmla="*/ 3 w 131" name="T14"/>
                  <a:gd fmla="*/ 131 h 165" name="T15"/>
                  <a:gd fmla="*/ 60 w 131" name="T16"/>
                  <a:gd fmla="*/ 138 h 165" name="T17"/>
                  <a:gd fmla="*/ 92 w 131" name="T18"/>
                  <a:gd fmla="*/ 121 h 165" name="T19"/>
                  <a:gd fmla="*/ 92 w 131" name="T20"/>
                  <a:gd fmla="*/ 111 h 165" name="T21"/>
                  <a:gd fmla="*/ 88 w 131" name="T22"/>
                  <a:gd fmla="*/ 99 h 165" name="T23"/>
                  <a:gd fmla="*/ 71 w 131" name="T24"/>
                  <a:gd fmla="*/ 94 h 165" name="T25"/>
                  <a:gd fmla="*/ 53 w 131" name="T26"/>
                  <a:gd fmla="*/ 94 h 165" name="T27"/>
                  <a:gd fmla="*/ 0 w 131" name="T28"/>
                  <a:gd fmla="*/ 53 h 165" name="T29"/>
                  <a:gd fmla="*/ 0 w 131" name="T30"/>
                  <a:gd fmla="*/ 41 h 165" name="T31"/>
                  <a:gd fmla="*/ 17 w 131" name="T32"/>
                  <a:gd fmla="*/ 10 h 165" name="T33"/>
                  <a:gd fmla="*/ 73 w 131" name="T34"/>
                  <a:gd fmla="*/ 0 h 165" name="T35"/>
                  <a:gd fmla="*/ 123 w 131" name="T36"/>
                  <a:gd fmla="*/ 3 h 165" name="T37"/>
                  <a:gd fmla="*/ 123 w 131" name="T38"/>
                  <a:gd fmla="*/ 32 h 165" name="T39"/>
                  <a:gd fmla="*/ 72 w 131" name="T40"/>
                  <a:gd fmla="*/ 27 h 165" name="T41"/>
                  <a:gd fmla="*/ 46 w 131" name="T42"/>
                  <a:gd fmla="*/ 31 h 165" name="T43"/>
                  <a:gd fmla="*/ 38 w 131" name="T44"/>
                  <a:gd fmla="*/ 41 h 165" name="T45"/>
                  <a:gd fmla="*/ 38 w 131" name="T46"/>
                  <a:gd fmla="*/ 53 h 165" name="T47"/>
                  <a:gd fmla="*/ 60 w 131" name="T48"/>
                  <a:gd fmla="*/ 65 h 165" name="T49"/>
                  <a:gd fmla="*/ 79 w 131" name="T50"/>
                  <a:gd fmla="*/ 65 h 165" name="T51"/>
                  <a:gd fmla="*/ 119 w 131" name="T52"/>
                  <a:gd fmla="*/ 76 h 165" name="T53"/>
                  <a:gd fmla="*/ 131 w 131" name="T54"/>
                  <a:gd fmla="*/ 106 h 165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5" w="131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fmla="*/ 364 w 364" name="T0"/>
                  <a:gd fmla="*/ 388 h 388" name="T1"/>
                  <a:gd fmla="*/ 270 w 364" name="T2"/>
                  <a:gd fmla="*/ 388 h 388" name="T3"/>
                  <a:gd fmla="*/ 82 w 364" name="T4"/>
                  <a:gd fmla="*/ 121 h 388" name="T5"/>
                  <a:gd fmla="*/ 82 w 364" name="T6"/>
                  <a:gd fmla="*/ 388 h 388" name="T7"/>
                  <a:gd fmla="*/ 0 w 364" name="T8"/>
                  <a:gd fmla="*/ 388 h 388" name="T9"/>
                  <a:gd fmla="*/ 0 w 364" name="T10"/>
                  <a:gd fmla="*/ 0 h 388" name="T11"/>
                  <a:gd fmla="*/ 94 w 364" name="T12"/>
                  <a:gd fmla="*/ 0 h 388" name="T13"/>
                  <a:gd fmla="*/ 279 w 364" name="T14"/>
                  <a:gd fmla="*/ 265 h 388" name="T15"/>
                  <a:gd fmla="*/ 279 w 364" name="T16"/>
                  <a:gd fmla="*/ 0 h 388" name="T17"/>
                  <a:gd fmla="*/ 364 w 364" name="T18"/>
                  <a:gd fmla="*/ 0 h 388" name="T19"/>
                  <a:gd fmla="*/ 364 w 364" name="T20"/>
                  <a:gd fmla="*/ 388 h 388" name="T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b="b" l="0" r="r" t="0"/>
                <a:pathLst>
                  <a:path h="388" w="364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</p:grpSp>
      </p:grp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cstate="screen"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711133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731984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635816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4209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6" name="Text Placeholder 5"/>
          <p:cNvSpPr>
            <a:spLocks noGrp="1"/>
          </p:cNvSpPr>
          <p:nvPr>
            <p:ph hasCustomPrompt="1" idx="10" sz="quarter" type="body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anchor="b" anchorCtr="0" bIns="0" lIns="0" rIns="0" tIns="0"/>
          <a:lstStyle>
            <a:lvl1pPr indent="0" marL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indent="0" marL="291586">
              <a:buNone/>
              <a:defRPr/>
            </a:lvl2pPr>
            <a:lvl3pPr indent="0" marL="583171">
              <a:buNone/>
              <a:defRPr/>
            </a:lvl3pPr>
            <a:lvl4pPr indent="0" marL="874756">
              <a:buNone/>
              <a:defRPr/>
            </a:lvl4pPr>
            <a:lvl5pPr indent="0" marL="1166341">
              <a:buNone/>
              <a:defRPr/>
            </a:lvl5pPr>
          </a:lstStyle>
          <a:p>
            <a:pPr lvl="0"/>
            <a:r>
              <a:rPr dirty="0"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82761118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148734474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</p:spTree>
    <p:extLst>
      <p:ext uri="{BB962C8B-B14F-4D97-AF65-F5344CB8AC3E}">
        <p14:creationId xmlns:p14="http://schemas.microsoft.com/office/powerpoint/2010/main" val="145340814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156668564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75036088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32444675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26848293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hasCustomPrompt="1" idx="14" sz="quarter" type="pic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80156636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81911299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53605534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hasCustomPrompt="1" idx="14" sz="quarter" type="body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hasCustomPrompt="1" idx="15" sz="quarter" type="pic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hasCustomPrompt="1" idx="18" sz="quarter" type="body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hasCustomPrompt="1" idx="19" sz="quarter" type="pic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hasCustomPrompt="1" idx="22" sz="quarter" type="body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1" name="Picture Placeholder 8"/>
          <p:cNvSpPr>
            <a:spLocks noGrp="1"/>
          </p:cNvSpPr>
          <p:nvPr>
            <p:ph hasCustomPrompt="1" idx="23" sz="quarter" type="pic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hasCustomPrompt="1" idx="26" sz="quarter" type="body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5" name="Picture Placeholder 8"/>
          <p:cNvSpPr>
            <a:spLocks noGrp="1"/>
          </p:cNvSpPr>
          <p:nvPr>
            <p:ph hasCustomPrompt="1" idx="27" sz="quarter" type="pic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14532138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81234007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4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7" name="Rectangle 6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compatLnSpc="1" forceAA="0" fromWordArt="0" horzOverflow="overflow" lIns="0" numCol="1" rIns="0" rot="0" rtlCol="0" spcCol="0" spcFirstLastPara="0" tIns="0" vert="horz" vertOverflow="overflow" wrap="none">
            <a:prstTxWarp prst="textNoShape">
              <a:avLst/>
            </a:prstTxWarp>
            <a:noAutofit/>
          </a:bodyPr>
          <a:lstStyle/>
          <a:p>
            <a:pPr algn="ctr"/>
            <a:endParaRPr dirty="0" lang="en-US">
              <a:solidFill>
                <a:srgbClr val="32373C"/>
              </a:solidFill>
              <a:sym charset="0" panose="020B0604020202020204" pitchFamily="34"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0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hasCustomPrompt="1" idx="13" sz="quarter" type="body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anchor="b" anchorCtr="0"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sz="18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hasCustomPrompt="1" idx="12" sz="quarter" type="body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bIns="0" lIns="0" rIns="0" tIns="0"/>
          <a:lstStyle>
            <a:lvl1pPr algn="l" defTabSz="583170" eaLnBrk="1" fontAlgn="auto" hangingPunct="1" indent="0" latinLnBrk="0" marL="0" marR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1" baseline="0" sz="2400">
                <a:solidFill>
                  <a:schemeClr val="bg1"/>
                </a:solidFill>
              </a:defRPr>
            </a:lvl1pPr>
            <a:lvl2pPr indent="0" marL="291586">
              <a:buNone/>
              <a:defRPr>
                <a:solidFill>
                  <a:schemeClr val="bg1"/>
                </a:solidFill>
              </a:defRPr>
            </a:lvl2pPr>
            <a:lvl3pPr indent="0" marL="583171">
              <a:buNone/>
              <a:defRPr>
                <a:solidFill>
                  <a:schemeClr val="bg1"/>
                </a:solidFill>
              </a:defRPr>
            </a:lvl3pPr>
            <a:lvl4pPr indent="0" marL="874756">
              <a:buNone/>
              <a:defRPr>
                <a:solidFill>
                  <a:schemeClr val="bg1"/>
                </a:solidFill>
              </a:defRPr>
            </a:lvl4pPr>
            <a:lvl5pPr indent="0" marL="1166341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3 w 142" name="T18"/>
                  <a:gd fmla="*/ 34 h 160" name="T19"/>
                  <a:gd fmla="*/ 133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fmla="*/ 298 w 298" name="T0"/>
                  <a:gd fmla="*/ 385 h 385" name="T1"/>
                  <a:gd fmla="*/ 0 w 298" name="T2"/>
                  <a:gd fmla="*/ 385 h 385" name="T3"/>
                  <a:gd fmla="*/ 0 w 298" name="T4"/>
                  <a:gd fmla="*/ 0 h 385" name="T5"/>
                  <a:gd fmla="*/ 294 w 298" name="T6"/>
                  <a:gd fmla="*/ 0 h 385" name="T7"/>
                  <a:gd fmla="*/ 294 w 298" name="T8"/>
                  <a:gd fmla="*/ 65 h 385" name="T9"/>
                  <a:gd fmla="*/ 91 w 298" name="T10"/>
                  <a:gd fmla="*/ 65 h 385" name="T11"/>
                  <a:gd fmla="*/ 91 w 298" name="T12"/>
                  <a:gd fmla="*/ 154 h 385" name="T13"/>
                  <a:gd fmla="*/ 274 w 298" name="T14"/>
                  <a:gd fmla="*/ 154 h 385" name="T15"/>
                  <a:gd fmla="*/ 274 w 298" name="T16"/>
                  <a:gd fmla="*/ 219 h 385" name="T17"/>
                  <a:gd fmla="*/ 91 w 298" name="T18"/>
                  <a:gd fmla="*/ 219 h 385" name="T19"/>
                  <a:gd fmla="*/ 91 w 298" name="T20"/>
                  <a:gd fmla="*/ 320 h 385" name="T21"/>
                  <a:gd fmla="*/ 298 w 298" name="T22"/>
                  <a:gd fmla="*/ 320 h 385" name="T23"/>
                  <a:gd fmla="*/ 298 w 298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298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1 w 131" name="T6"/>
                  <a:gd fmla="*/ 156 h 166" name="T7"/>
                  <a:gd fmla="*/ 89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1 w 131" name="T16"/>
                  <a:gd fmla="*/ 138 h 166" name="T17"/>
                  <a:gd fmla="*/ 93 w 131" name="T18"/>
                  <a:gd fmla="*/ 122 h 166" name="T19"/>
                  <a:gd fmla="*/ 93 w 131" name="T20"/>
                  <a:gd fmla="*/ 111 h 166" name="T21"/>
                  <a:gd fmla="*/ 89 w 131" name="T22"/>
                  <a:gd fmla="*/ 100 h 166" name="T23"/>
                  <a:gd fmla="*/ 72 w 131" name="T24"/>
                  <a:gd fmla="*/ 95 h 166" name="T25"/>
                  <a:gd fmla="*/ 53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8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2 w 131" name="T40"/>
                  <a:gd fmla="*/ 28 h 166" name="T41"/>
                  <a:gd fmla="*/ 46 w 131" name="T42"/>
                  <a:gd fmla="*/ 31 h 166" name="T43"/>
                  <a:gd fmla="*/ 39 w 131" name="T44"/>
                  <a:gd fmla="*/ 42 h 166" name="T45"/>
                  <a:gd fmla="*/ 39 w 131" name="T46"/>
                  <a:gd fmla="*/ 53 h 166" name="T47"/>
                  <a:gd fmla="*/ 60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fmla="*/ 152 w 152" name="T0"/>
                  <a:gd fmla="*/ 49 h 166" name="T1"/>
                  <a:gd fmla="*/ 152 w 152" name="T2"/>
                  <a:gd fmla="*/ 119 h 166" name="T3"/>
                  <a:gd fmla="*/ 145 w 152" name="T4"/>
                  <a:gd fmla="*/ 142 h 166" name="T5"/>
                  <a:gd fmla="*/ 125 w 152" name="T6"/>
                  <a:gd fmla="*/ 157 h 166" name="T7"/>
                  <a:gd fmla="*/ 101 w 152" name="T8"/>
                  <a:gd fmla="*/ 164 h 166" name="T9"/>
                  <a:gd fmla="*/ 75 w 152" name="T10"/>
                  <a:gd fmla="*/ 166 h 166" name="T11"/>
                  <a:gd fmla="*/ 51 w 152" name="T12"/>
                  <a:gd fmla="*/ 164 h 166" name="T13"/>
                  <a:gd fmla="*/ 27 w 152" name="T14"/>
                  <a:gd fmla="*/ 158 h 166" name="T15"/>
                  <a:gd fmla="*/ 7 w 152" name="T16"/>
                  <a:gd fmla="*/ 144 h 166" name="T17"/>
                  <a:gd fmla="*/ 0 w 152" name="T18"/>
                  <a:gd fmla="*/ 119 h 166" name="T19"/>
                  <a:gd fmla="*/ 0 w 152" name="T20"/>
                  <a:gd fmla="*/ 49 h 166" name="T21"/>
                  <a:gd fmla="*/ 5 w 152" name="T22"/>
                  <a:gd fmla="*/ 27 h 166" name="T23"/>
                  <a:gd fmla="*/ 18 w 152" name="T24"/>
                  <a:gd fmla="*/ 13 h 166" name="T25"/>
                  <a:gd fmla="*/ 37 w 152" name="T26"/>
                  <a:gd fmla="*/ 5 h 166" name="T27"/>
                  <a:gd fmla="*/ 57 w 152" name="T28"/>
                  <a:gd fmla="*/ 1 h 166" name="T29"/>
                  <a:gd fmla="*/ 75 w 152" name="T30"/>
                  <a:gd fmla="*/ 0 h 166" name="T31"/>
                  <a:gd fmla="*/ 94 w 152" name="T32"/>
                  <a:gd fmla="*/ 1 h 166" name="T33"/>
                  <a:gd fmla="*/ 114 w 152" name="T34"/>
                  <a:gd fmla="*/ 5 h 166" name="T35"/>
                  <a:gd fmla="*/ 133 w 152" name="T36"/>
                  <a:gd fmla="*/ 13 h 166" name="T37"/>
                  <a:gd fmla="*/ 146 w 152" name="T38"/>
                  <a:gd fmla="*/ 27 h 166" name="T39"/>
                  <a:gd fmla="*/ 152 w 152" name="T40"/>
                  <a:gd fmla="*/ 49 h 166" name="T41"/>
                  <a:gd fmla="*/ 113 w 152" name="T42"/>
                  <a:gd fmla="*/ 119 h 166" name="T43"/>
                  <a:gd fmla="*/ 113 w 152" name="T44"/>
                  <a:gd fmla="*/ 49 h 166" name="T45"/>
                  <a:gd fmla="*/ 104 w 152" name="T46"/>
                  <a:gd fmla="*/ 32 h 166" name="T47"/>
                  <a:gd fmla="*/ 76 w 152" name="T48"/>
                  <a:gd fmla="*/ 28 h 166" name="T49"/>
                  <a:gd fmla="*/ 47 w 152" name="T50"/>
                  <a:gd fmla="*/ 32 h 166" name="T51"/>
                  <a:gd fmla="*/ 38 w 152" name="T52"/>
                  <a:gd fmla="*/ 49 h 166" name="T53"/>
                  <a:gd fmla="*/ 38 w 152" name="T54"/>
                  <a:gd fmla="*/ 119 h 166" name="T55"/>
                  <a:gd fmla="*/ 41 w 152" name="T56"/>
                  <a:gd fmla="*/ 129 h 166" name="T57"/>
                  <a:gd fmla="*/ 51 w 152" name="T58"/>
                  <a:gd fmla="*/ 135 h 166" name="T59"/>
                  <a:gd fmla="*/ 62 w 152" name="T60"/>
                  <a:gd fmla="*/ 138 h 166" name="T61"/>
                  <a:gd fmla="*/ 76 w 152" name="T62"/>
                  <a:gd fmla="*/ 138 h 166" name="T63"/>
                  <a:gd fmla="*/ 90 w 152" name="T64"/>
                  <a:gd fmla="*/ 138 h 166" name="T65"/>
                  <a:gd fmla="*/ 101 w 152" name="T66"/>
                  <a:gd fmla="*/ 135 h 166" name="T67"/>
                  <a:gd fmla="*/ 110 w 152" name="T68"/>
                  <a:gd fmla="*/ 129 h 166" name="T69"/>
                  <a:gd fmla="*/ 113 w 152" name="T70"/>
                  <a:gd fmla="*/ 119 h 166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6" w="152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6 h 163" name="T3"/>
                  <a:gd fmla="*/ 70 w 139" name="T4"/>
                  <a:gd fmla="*/ 163 h 163" name="T5"/>
                  <a:gd fmla="*/ 0 w 139" name="T6"/>
                  <a:gd fmla="*/ 116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6 h 163" name="T13"/>
                  <a:gd fmla="*/ 46 w 139" name="T14"/>
                  <a:gd fmla="*/ 131 h 163" name="T15"/>
                  <a:gd fmla="*/ 70 w 139" name="T16"/>
                  <a:gd fmla="*/ 135 h 163" name="T17"/>
                  <a:gd fmla="*/ 94 w 139" name="T18"/>
                  <a:gd fmla="*/ 131 h 163" name="T19"/>
                  <a:gd fmla="*/ 101 w 139" name="T20"/>
                  <a:gd fmla="*/ 116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fmla="*/ 142 w 142" name="T0"/>
                  <a:gd fmla="*/ 160 h 160" name="T1"/>
                  <a:gd fmla="*/ 98 w 142" name="T2"/>
                  <a:gd fmla="*/ 160 h 160" name="T3"/>
                  <a:gd fmla="*/ 56 w 142" name="T4"/>
                  <a:gd fmla="*/ 97 h 160" name="T5"/>
                  <a:gd fmla="*/ 38 w 142" name="T6"/>
                  <a:gd fmla="*/ 97 h 160" name="T7"/>
                  <a:gd fmla="*/ 38 w 142" name="T8"/>
                  <a:gd fmla="*/ 160 h 160" name="T9"/>
                  <a:gd fmla="*/ 0 w 142" name="T10"/>
                  <a:gd fmla="*/ 160 h 160" name="T11"/>
                  <a:gd fmla="*/ 0 w 142" name="T12"/>
                  <a:gd fmla="*/ 0 h 160" name="T13"/>
                  <a:gd fmla="*/ 72 w 142" name="T14"/>
                  <a:gd fmla="*/ 0 h 160" name="T15"/>
                  <a:gd fmla="*/ 118 w 142" name="T16"/>
                  <a:gd fmla="*/ 7 h 160" name="T17"/>
                  <a:gd fmla="*/ 132 w 142" name="T18"/>
                  <a:gd fmla="*/ 34 h 160" name="T19"/>
                  <a:gd fmla="*/ 132 w 142" name="T20"/>
                  <a:gd fmla="*/ 62 h 160" name="T21"/>
                  <a:gd fmla="*/ 122 w 142" name="T22"/>
                  <a:gd fmla="*/ 84 h 160" name="T23"/>
                  <a:gd fmla="*/ 96 w 142" name="T24"/>
                  <a:gd fmla="*/ 94 h 160" name="T25"/>
                  <a:gd fmla="*/ 142 w 142" name="T26"/>
                  <a:gd fmla="*/ 160 h 160" name="T27"/>
                  <a:gd fmla="*/ 95 w 142" name="T28"/>
                  <a:gd fmla="*/ 54 h 160" name="T29"/>
                  <a:gd fmla="*/ 95 w 142" name="T30"/>
                  <a:gd fmla="*/ 43 h 160" name="T31"/>
                  <a:gd fmla="*/ 89 w 142" name="T32"/>
                  <a:gd fmla="*/ 31 h 160" name="T33"/>
                  <a:gd fmla="*/ 71 w 142" name="T34"/>
                  <a:gd fmla="*/ 27 h 160" name="T35"/>
                  <a:gd fmla="*/ 38 w 142" name="T36"/>
                  <a:gd fmla="*/ 27 h 160" name="T37"/>
                  <a:gd fmla="*/ 38 w 142" name="T38"/>
                  <a:gd fmla="*/ 72 h 160" name="T39"/>
                  <a:gd fmla="*/ 71 w 142" name="T40"/>
                  <a:gd fmla="*/ 72 h 160" name="T41"/>
                  <a:gd fmla="*/ 90 w 142" name="T42"/>
                  <a:gd fmla="*/ 68 h 160" name="T43"/>
                  <a:gd fmla="*/ 95 w 142" name="T44"/>
                  <a:gd fmla="*/ 54 h 160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0" w="142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fmla="*/ 126 w 126" name="T0"/>
                  <a:gd fmla="*/ 160 h 166" name="T1"/>
                  <a:gd fmla="*/ 74 w 126" name="T2"/>
                  <a:gd fmla="*/ 166 h 166" name="T3"/>
                  <a:gd fmla="*/ 56 w 126" name="T4"/>
                  <a:gd fmla="*/ 165 h 166" name="T5"/>
                  <a:gd fmla="*/ 36 w 126" name="T6"/>
                  <a:gd fmla="*/ 161 h 166" name="T7"/>
                  <a:gd fmla="*/ 18 w 126" name="T8"/>
                  <a:gd fmla="*/ 153 h 166" name="T9"/>
                  <a:gd fmla="*/ 5 w 126" name="T10"/>
                  <a:gd fmla="*/ 140 h 166" name="T11"/>
                  <a:gd fmla="*/ 0 w 126" name="T12"/>
                  <a:gd fmla="*/ 119 h 166" name="T13"/>
                  <a:gd fmla="*/ 0 w 126" name="T14"/>
                  <a:gd fmla="*/ 49 h 166" name="T15"/>
                  <a:gd fmla="*/ 74 w 126" name="T16"/>
                  <a:gd fmla="*/ 0 h 166" name="T17"/>
                  <a:gd fmla="*/ 125 w 126" name="T18"/>
                  <a:gd fmla="*/ 6 h 166" name="T19"/>
                  <a:gd fmla="*/ 125 w 126" name="T20"/>
                  <a:gd fmla="*/ 35 h 166" name="T21"/>
                  <a:gd fmla="*/ 75 w 126" name="T22"/>
                  <a:gd fmla="*/ 28 h 166" name="T23"/>
                  <a:gd fmla="*/ 61 w 126" name="T24"/>
                  <a:gd fmla="*/ 28 h 166" name="T25"/>
                  <a:gd fmla="*/ 50 w 126" name="T26"/>
                  <a:gd fmla="*/ 31 h 166" name="T27"/>
                  <a:gd fmla="*/ 41 w 126" name="T28"/>
                  <a:gd fmla="*/ 37 h 166" name="T29"/>
                  <a:gd fmla="*/ 39 w 126" name="T30"/>
                  <a:gd fmla="*/ 48 h 166" name="T31"/>
                  <a:gd fmla="*/ 39 w 126" name="T32"/>
                  <a:gd fmla="*/ 116 h 166" name="T33"/>
                  <a:gd fmla="*/ 78 w 126" name="T34"/>
                  <a:gd fmla="*/ 138 h 166" name="T35"/>
                  <a:gd fmla="*/ 126 w 126" name="T36"/>
                  <a:gd fmla="*/ 131 h 166" name="T37"/>
                  <a:gd fmla="*/ 126 w 126" name="T38"/>
                  <a:gd fmla="*/ 160 h 166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6" w="12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fmla="*/ 302 w 302" name="T0"/>
                  <a:gd fmla="*/ 385 h 385" name="T1"/>
                  <a:gd fmla="*/ 0 w 302" name="T2"/>
                  <a:gd fmla="*/ 385 h 385" name="T3"/>
                  <a:gd fmla="*/ 0 w 302" name="T4"/>
                  <a:gd fmla="*/ 0 h 385" name="T5"/>
                  <a:gd fmla="*/ 294 w 302" name="T6"/>
                  <a:gd fmla="*/ 0 h 385" name="T7"/>
                  <a:gd fmla="*/ 294 w 302" name="T8"/>
                  <a:gd fmla="*/ 65 h 385" name="T9"/>
                  <a:gd fmla="*/ 94 w 302" name="T10"/>
                  <a:gd fmla="*/ 65 h 385" name="T11"/>
                  <a:gd fmla="*/ 94 w 302" name="T12"/>
                  <a:gd fmla="*/ 154 h 385" name="T13"/>
                  <a:gd fmla="*/ 275 w 302" name="T14"/>
                  <a:gd fmla="*/ 154 h 385" name="T15"/>
                  <a:gd fmla="*/ 275 w 302" name="T16"/>
                  <a:gd fmla="*/ 219 h 385" name="T17"/>
                  <a:gd fmla="*/ 94 w 302" name="T18"/>
                  <a:gd fmla="*/ 219 h 385" name="T19"/>
                  <a:gd fmla="*/ 94 w 302" name="T20"/>
                  <a:gd fmla="*/ 320 h 385" name="T21"/>
                  <a:gd fmla="*/ 302 w 302" name="T22"/>
                  <a:gd fmla="*/ 320 h 385" name="T23"/>
                  <a:gd fmla="*/ 302 w 302" name="T24"/>
                  <a:gd fmla="*/ 385 h 385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5" w="302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fmla="*/ 131 w 131" name="T0"/>
                  <a:gd fmla="*/ 107 h 166" name="T1"/>
                  <a:gd fmla="*/ 131 w 131" name="T2"/>
                  <a:gd fmla="*/ 117 h 166" name="T3"/>
                  <a:gd fmla="*/ 126 w 131" name="T4"/>
                  <a:gd fmla="*/ 141 h 166" name="T5"/>
                  <a:gd fmla="*/ 110 w 131" name="T6"/>
                  <a:gd fmla="*/ 156 h 166" name="T7"/>
                  <a:gd fmla="*/ 88 w 131" name="T8"/>
                  <a:gd fmla="*/ 163 h 166" name="T9"/>
                  <a:gd fmla="*/ 60 w 131" name="T10"/>
                  <a:gd fmla="*/ 166 h 166" name="T11"/>
                  <a:gd fmla="*/ 3 w 131" name="T12"/>
                  <a:gd fmla="*/ 161 h 166" name="T13"/>
                  <a:gd fmla="*/ 3 w 131" name="T14"/>
                  <a:gd fmla="*/ 132 h 166" name="T15"/>
                  <a:gd fmla="*/ 60 w 131" name="T16"/>
                  <a:gd fmla="*/ 138 h 166" name="T17"/>
                  <a:gd fmla="*/ 92 w 131" name="T18"/>
                  <a:gd fmla="*/ 122 h 166" name="T19"/>
                  <a:gd fmla="*/ 92 w 131" name="T20"/>
                  <a:gd fmla="*/ 111 h 166" name="T21"/>
                  <a:gd fmla="*/ 88 w 131" name="T22"/>
                  <a:gd fmla="*/ 100 h 166" name="T23"/>
                  <a:gd fmla="*/ 71 w 131" name="T24"/>
                  <a:gd fmla="*/ 95 h 166" name="T25"/>
                  <a:gd fmla="*/ 52 w 131" name="T26"/>
                  <a:gd fmla="*/ 95 h 166" name="T27"/>
                  <a:gd fmla="*/ 0 w 131" name="T28"/>
                  <a:gd fmla="*/ 53 h 166" name="T29"/>
                  <a:gd fmla="*/ 0 w 131" name="T30"/>
                  <a:gd fmla="*/ 41 h 166" name="T31"/>
                  <a:gd fmla="*/ 17 w 131" name="T32"/>
                  <a:gd fmla="*/ 10 h 166" name="T33"/>
                  <a:gd fmla="*/ 73 w 131" name="T34"/>
                  <a:gd fmla="*/ 0 h 166" name="T35"/>
                  <a:gd fmla="*/ 123 w 131" name="T36"/>
                  <a:gd fmla="*/ 4 h 166" name="T37"/>
                  <a:gd fmla="*/ 123 w 131" name="T38"/>
                  <a:gd fmla="*/ 32 h 166" name="T39"/>
                  <a:gd fmla="*/ 71 w 131" name="T40"/>
                  <a:gd fmla="*/ 28 h 166" name="T41"/>
                  <a:gd fmla="*/ 45 w 131" name="T42"/>
                  <a:gd fmla="*/ 31 h 166" name="T43"/>
                  <a:gd fmla="*/ 38 w 131" name="T44"/>
                  <a:gd fmla="*/ 42 h 166" name="T45"/>
                  <a:gd fmla="*/ 38 w 131" name="T46"/>
                  <a:gd fmla="*/ 53 h 166" name="T47"/>
                  <a:gd fmla="*/ 59 w 131" name="T48"/>
                  <a:gd fmla="*/ 66 h 166" name="T49"/>
                  <a:gd fmla="*/ 79 w 131" name="T50"/>
                  <a:gd fmla="*/ 66 h 166" name="T51"/>
                  <a:gd fmla="*/ 119 w 131" name="T52"/>
                  <a:gd fmla="*/ 76 h 166" name="T53"/>
                  <a:gd fmla="*/ 131 w 131" name="T54"/>
                  <a:gd fmla="*/ 107 h 166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6" w="131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fmla="*/ 147 w 147" name="T0"/>
                  <a:gd fmla="*/ 155 h 165" name="T1"/>
                  <a:gd fmla="*/ 115 w 147" name="T2"/>
                  <a:gd fmla="*/ 162 h 165" name="T3"/>
                  <a:gd fmla="*/ 80 w 147" name="T4"/>
                  <a:gd fmla="*/ 165 h 165" name="T5"/>
                  <a:gd fmla="*/ 56 w 147" name="T6"/>
                  <a:gd fmla="*/ 164 h 165" name="T7"/>
                  <a:gd fmla="*/ 34 w 147" name="T8"/>
                  <a:gd fmla="*/ 160 h 165" name="T9"/>
                  <a:gd fmla="*/ 16 w 147" name="T10"/>
                  <a:gd fmla="*/ 152 h 165" name="T11"/>
                  <a:gd fmla="*/ 5 w 147" name="T12"/>
                  <a:gd fmla="*/ 138 h 165" name="T13"/>
                  <a:gd fmla="*/ 0 w 147" name="T14"/>
                  <a:gd fmla="*/ 119 h 165" name="T15"/>
                  <a:gd fmla="*/ 0 w 147" name="T16"/>
                  <a:gd fmla="*/ 52 h 165" name="T17"/>
                  <a:gd fmla="*/ 5 w 147" name="T18"/>
                  <a:gd fmla="*/ 30 h 165" name="T19"/>
                  <a:gd fmla="*/ 18 w 147" name="T20"/>
                  <a:gd fmla="*/ 15 h 165" name="T21"/>
                  <a:gd fmla="*/ 37 w 147" name="T22"/>
                  <a:gd fmla="*/ 6 h 165" name="T23"/>
                  <a:gd fmla="*/ 59 w 147" name="T24"/>
                  <a:gd fmla="*/ 1 h 165" name="T25"/>
                  <a:gd fmla="*/ 80 w 147" name="T26"/>
                  <a:gd fmla="*/ 0 h 165" name="T27"/>
                  <a:gd fmla="*/ 146 w 147" name="T28"/>
                  <a:gd fmla="*/ 5 h 165" name="T29"/>
                  <a:gd fmla="*/ 146 w 147" name="T30"/>
                  <a:gd fmla="*/ 34 h 165" name="T31"/>
                  <a:gd fmla="*/ 80 w 147" name="T32"/>
                  <a:gd fmla="*/ 27 h 165" name="T33"/>
                  <a:gd fmla="*/ 39 w 147" name="T34"/>
                  <a:gd fmla="*/ 51 h 165" name="T35"/>
                  <a:gd fmla="*/ 39 w 147" name="T36"/>
                  <a:gd fmla="*/ 116 h 165" name="T37"/>
                  <a:gd fmla="*/ 50 w 147" name="T38"/>
                  <a:gd fmla="*/ 133 h 165" name="T39"/>
                  <a:gd fmla="*/ 84 w 147" name="T40"/>
                  <a:gd fmla="*/ 138 h 165" name="T41"/>
                  <a:gd fmla="*/ 110 w 147" name="T42"/>
                  <a:gd fmla="*/ 134 h 165" name="T43"/>
                  <a:gd fmla="*/ 110 w 147" name="T44"/>
                  <a:gd fmla="*/ 97 h 165" name="T45"/>
                  <a:gd fmla="*/ 84 w 147" name="T46"/>
                  <a:gd fmla="*/ 97 h 165" name="T47"/>
                  <a:gd fmla="*/ 84 w 147" name="T48"/>
                  <a:gd fmla="*/ 71 h 165" name="T49"/>
                  <a:gd fmla="*/ 147 w 147" name="T50"/>
                  <a:gd fmla="*/ 71 h 165" name="T51"/>
                  <a:gd fmla="*/ 147 w 147" name="T52"/>
                  <a:gd fmla="*/ 155 h 165" name="T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b="b" l="0" r="r" t="0"/>
                <a:pathLst>
                  <a:path h="165" w="147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1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1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fmla="*/ 152 w 152" name="T0"/>
                  <a:gd fmla="*/ 48 h 165" name="T1"/>
                  <a:gd fmla="*/ 152 w 152" name="T2"/>
                  <a:gd fmla="*/ 119 h 165" name="T3"/>
                  <a:gd fmla="*/ 145 w 152" name="T4"/>
                  <a:gd fmla="*/ 142 h 165" name="T5"/>
                  <a:gd fmla="*/ 126 w 152" name="T6"/>
                  <a:gd fmla="*/ 156 h 165" name="T7"/>
                  <a:gd fmla="*/ 102 w 152" name="T8"/>
                  <a:gd fmla="*/ 163 h 165" name="T9"/>
                  <a:gd fmla="*/ 76 w 152" name="T10"/>
                  <a:gd fmla="*/ 165 h 165" name="T11"/>
                  <a:gd fmla="*/ 52 w 152" name="T12"/>
                  <a:gd fmla="*/ 163 h 165" name="T13"/>
                  <a:gd fmla="*/ 28 w 152" name="T14"/>
                  <a:gd fmla="*/ 157 h 165" name="T15"/>
                  <a:gd fmla="*/ 8 w 152" name="T16"/>
                  <a:gd fmla="*/ 143 h 165" name="T17"/>
                  <a:gd fmla="*/ 0 w 152" name="T18"/>
                  <a:gd fmla="*/ 119 h 165" name="T19"/>
                  <a:gd fmla="*/ 0 w 152" name="T20"/>
                  <a:gd fmla="*/ 48 h 165" name="T21"/>
                  <a:gd fmla="*/ 6 w 152" name="T22"/>
                  <a:gd fmla="*/ 27 h 165" name="T23"/>
                  <a:gd fmla="*/ 19 w 152" name="T24"/>
                  <a:gd fmla="*/ 12 h 165" name="T25"/>
                  <a:gd fmla="*/ 38 w 152" name="T26"/>
                  <a:gd fmla="*/ 4 h 165" name="T27"/>
                  <a:gd fmla="*/ 58 w 152" name="T28"/>
                  <a:gd fmla="*/ 0 h 165" name="T29"/>
                  <a:gd fmla="*/ 76 w 152" name="T30"/>
                  <a:gd fmla="*/ 0 h 165" name="T31"/>
                  <a:gd fmla="*/ 95 w 152" name="T32"/>
                  <a:gd fmla="*/ 0 h 165" name="T33"/>
                  <a:gd fmla="*/ 115 w 152" name="T34"/>
                  <a:gd fmla="*/ 4 h 165" name="T35"/>
                  <a:gd fmla="*/ 134 w 152" name="T36"/>
                  <a:gd fmla="*/ 12 h 165" name="T37"/>
                  <a:gd fmla="*/ 147 w 152" name="T38"/>
                  <a:gd fmla="*/ 27 h 165" name="T39"/>
                  <a:gd fmla="*/ 152 w 152" name="T40"/>
                  <a:gd fmla="*/ 48 h 165" name="T41"/>
                  <a:gd fmla="*/ 114 w 152" name="T42"/>
                  <a:gd fmla="*/ 119 h 165" name="T43"/>
                  <a:gd fmla="*/ 114 w 152" name="T44"/>
                  <a:gd fmla="*/ 48 h 165" name="T45"/>
                  <a:gd fmla="*/ 104 w 152" name="T46"/>
                  <a:gd fmla="*/ 32 h 165" name="T47"/>
                  <a:gd fmla="*/ 76 w 152" name="T48"/>
                  <a:gd fmla="*/ 27 h 165" name="T49"/>
                  <a:gd fmla="*/ 48 w 152" name="T50"/>
                  <a:gd fmla="*/ 32 h 165" name="T51"/>
                  <a:gd fmla="*/ 39 w 152" name="T52"/>
                  <a:gd fmla="*/ 48 h 165" name="T53"/>
                  <a:gd fmla="*/ 39 w 152" name="T54"/>
                  <a:gd fmla="*/ 119 h 165" name="T55"/>
                  <a:gd fmla="*/ 42 w 152" name="T56"/>
                  <a:gd fmla="*/ 129 h 165" name="T57"/>
                  <a:gd fmla="*/ 51 w 152" name="T58"/>
                  <a:gd fmla="*/ 135 h 165" name="T59"/>
                  <a:gd fmla="*/ 63 w 152" name="T60"/>
                  <a:gd fmla="*/ 137 h 165" name="T61"/>
                  <a:gd fmla="*/ 77 w 152" name="T62"/>
                  <a:gd fmla="*/ 138 h 165" name="T63"/>
                  <a:gd fmla="*/ 90 w 152" name="T64"/>
                  <a:gd fmla="*/ 137 h 165" name="T65"/>
                  <a:gd fmla="*/ 102 w 152" name="T66"/>
                  <a:gd fmla="*/ 135 h 165" name="T67"/>
                  <a:gd fmla="*/ 111 w 152" name="T68"/>
                  <a:gd fmla="*/ 129 h 165" name="T69"/>
                  <a:gd fmla="*/ 114 w 152" name="T70"/>
                  <a:gd fmla="*/ 119 h 165" name="T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b="b" l="0" r="r" t="0"/>
                <a:pathLst>
                  <a:path h="165" w="152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70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9 w 139" name="T10"/>
                  <a:gd fmla="*/ 0 h 163" name="T11"/>
                  <a:gd fmla="*/ 39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4 w 139" name="T18"/>
                  <a:gd fmla="*/ 132 h 163" name="T19"/>
                  <a:gd fmla="*/ 101 w 139" name="T20"/>
                  <a:gd fmla="*/ 117 h 163" name="T21"/>
                  <a:gd fmla="*/ 101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fmla="*/ 128 w 128" name="T0"/>
                  <a:gd fmla="*/ 37 h 161" name="T1"/>
                  <a:gd fmla="*/ 128 w 128" name="T2"/>
                  <a:gd fmla="*/ 67 h 161" name="T3"/>
                  <a:gd fmla="*/ 112 w 128" name="T4"/>
                  <a:gd fmla="*/ 100 h 161" name="T5"/>
                  <a:gd fmla="*/ 60 w 128" name="T6"/>
                  <a:gd fmla="*/ 108 h 161" name="T7"/>
                  <a:gd fmla="*/ 39 w 128" name="T8"/>
                  <a:gd fmla="*/ 108 h 161" name="T9"/>
                  <a:gd fmla="*/ 39 w 128" name="T10"/>
                  <a:gd fmla="*/ 161 h 161" name="T11"/>
                  <a:gd fmla="*/ 0 w 128" name="T12"/>
                  <a:gd fmla="*/ 161 h 161" name="T13"/>
                  <a:gd fmla="*/ 0 w 128" name="T14"/>
                  <a:gd fmla="*/ 0 h 161" name="T15"/>
                  <a:gd fmla="*/ 65 w 128" name="T16"/>
                  <a:gd fmla="*/ 0 h 161" name="T17"/>
                  <a:gd fmla="*/ 113 w 128" name="T18"/>
                  <a:gd fmla="*/ 8 h 161" name="T19"/>
                  <a:gd fmla="*/ 128 w 128" name="T20"/>
                  <a:gd fmla="*/ 37 h 161" name="T21"/>
                  <a:gd fmla="*/ 91 w 128" name="T22"/>
                  <a:gd fmla="*/ 66 h 161" name="T23"/>
                  <a:gd fmla="*/ 91 w 128" name="T24"/>
                  <a:gd fmla="*/ 40 h 161" name="T25"/>
                  <a:gd fmla="*/ 85 w 128" name="T26"/>
                  <a:gd fmla="*/ 30 h 161" name="T27"/>
                  <a:gd fmla="*/ 63 w 128" name="T28"/>
                  <a:gd fmla="*/ 28 h 161" name="T29"/>
                  <a:gd fmla="*/ 39 w 128" name="T30"/>
                  <a:gd fmla="*/ 28 h 161" name="T31"/>
                  <a:gd fmla="*/ 39 w 128" name="T32"/>
                  <a:gd fmla="*/ 82 h 161" name="T33"/>
                  <a:gd fmla="*/ 63 w 128" name="T34"/>
                  <a:gd fmla="*/ 82 h 161" name="T35"/>
                  <a:gd fmla="*/ 85 w 128" name="T36"/>
                  <a:gd fmla="*/ 78 h 161" name="T37"/>
                  <a:gd fmla="*/ 91 w 128" name="T38"/>
                  <a:gd fmla="*/ 66 h 161" name="T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b="b" l="0" r="r" t="0"/>
                <a:pathLst>
                  <a:path h="161" w="128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fmla="*/ 299 w 299" name="T0"/>
                  <a:gd fmla="*/ 388 h 388" name="T1"/>
                  <a:gd fmla="*/ 0 w 299" name="T2"/>
                  <a:gd fmla="*/ 388 h 388" name="T3"/>
                  <a:gd fmla="*/ 0 w 299" name="T4"/>
                  <a:gd fmla="*/ 0 h 388" name="T5"/>
                  <a:gd fmla="*/ 294 w 299" name="T6"/>
                  <a:gd fmla="*/ 0 h 388" name="T7"/>
                  <a:gd fmla="*/ 294 w 299" name="T8"/>
                  <a:gd fmla="*/ 68 h 388" name="T9"/>
                  <a:gd fmla="*/ 92 w 299" name="T10"/>
                  <a:gd fmla="*/ 68 h 388" name="T11"/>
                  <a:gd fmla="*/ 92 w 299" name="T12"/>
                  <a:gd fmla="*/ 157 h 388" name="T13"/>
                  <a:gd fmla="*/ 275 w 299" name="T14"/>
                  <a:gd fmla="*/ 157 h 388" name="T15"/>
                  <a:gd fmla="*/ 275 w 299" name="T16"/>
                  <a:gd fmla="*/ 222 h 388" name="T17"/>
                  <a:gd fmla="*/ 92 w 299" name="T18"/>
                  <a:gd fmla="*/ 222 h 388" name="T19"/>
                  <a:gd fmla="*/ 92 w 299" name="T20"/>
                  <a:gd fmla="*/ 321 h 388" name="T21"/>
                  <a:gd fmla="*/ 299 w 299" name="T22"/>
                  <a:gd fmla="*/ 321 h 388" name="T23"/>
                  <a:gd fmla="*/ 299 w 299" name="T24"/>
                  <a:gd fmla="*/ 388 h 388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388" w="299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fmla="*/ 139 w 139" name="T0"/>
                  <a:gd fmla="*/ 0 h 163" name="T1"/>
                  <a:gd fmla="*/ 139 w 139" name="T2"/>
                  <a:gd fmla="*/ 117 h 163" name="T3"/>
                  <a:gd fmla="*/ 69 w 139" name="T4"/>
                  <a:gd fmla="*/ 163 h 163" name="T5"/>
                  <a:gd fmla="*/ 0 w 139" name="T6"/>
                  <a:gd fmla="*/ 117 h 163" name="T7"/>
                  <a:gd fmla="*/ 0 w 139" name="T8"/>
                  <a:gd fmla="*/ 0 h 163" name="T9"/>
                  <a:gd fmla="*/ 38 w 139" name="T10"/>
                  <a:gd fmla="*/ 0 h 163" name="T11"/>
                  <a:gd fmla="*/ 38 w 139" name="T12"/>
                  <a:gd fmla="*/ 117 h 163" name="T13"/>
                  <a:gd fmla="*/ 46 w 139" name="T14"/>
                  <a:gd fmla="*/ 132 h 163" name="T15"/>
                  <a:gd fmla="*/ 70 w 139" name="T16"/>
                  <a:gd fmla="*/ 136 h 163" name="T17"/>
                  <a:gd fmla="*/ 93 w 139" name="T18"/>
                  <a:gd fmla="*/ 132 h 163" name="T19"/>
                  <a:gd fmla="*/ 100 w 139" name="T20"/>
                  <a:gd fmla="*/ 117 h 163" name="T21"/>
                  <a:gd fmla="*/ 100 w 139" name="T22"/>
                  <a:gd fmla="*/ 0 h 163" name="T23"/>
                  <a:gd fmla="*/ 139 w 139" name="T24"/>
                  <a:gd fmla="*/ 0 h 163" name="T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b="b" l="0" r="r" t="0"/>
                <a:pathLst>
                  <a:path h="163" w="139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fmla="*/ 143 w 143" name="T0"/>
                  <a:gd fmla="*/ 161 h 161" name="T1"/>
                  <a:gd fmla="*/ 98 w 143" name="T2"/>
                  <a:gd fmla="*/ 161 h 161" name="T3"/>
                  <a:gd fmla="*/ 56 w 143" name="T4"/>
                  <a:gd fmla="*/ 98 h 161" name="T5"/>
                  <a:gd fmla="*/ 38 w 143" name="T6"/>
                  <a:gd fmla="*/ 98 h 161" name="T7"/>
                  <a:gd fmla="*/ 38 w 143" name="T8"/>
                  <a:gd fmla="*/ 161 h 161" name="T9"/>
                  <a:gd fmla="*/ 0 w 143" name="T10"/>
                  <a:gd fmla="*/ 161 h 161" name="T11"/>
                  <a:gd fmla="*/ 0 w 143" name="T12"/>
                  <a:gd fmla="*/ 0 h 161" name="T13"/>
                  <a:gd fmla="*/ 72 w 143" name="T14"/>
                  <a:gd fmla="*/ 0 h 161" name="T15"/>
                  <a:gd fmla="*/ 118 w 143" name="T16"/>
                  <a:gd fmla="*/ 8 h 161" name="T17"/>
                  <a:gd fmla="*/ 133 w 143" name="T18"/>
                  <a:gd fmla="*/ 34 h 161" name="T19"/>
                  <a:gd fmla="*/ 133 w 143" name="T20"/>
                  <a:gd fmla="*/ 62 h 161" name="T21"/>
                  <a:gd fmla="*/ 122 w 143" name="T22"/>
                  <a:gd fmla="*/ 85 h 161" name="T23"/>
                  <a:gd fmla="*/ 96 w 143" name="T24"/>
                  <a:gd fmla="*/ 95 h 161" name="T25"/>
                  <a:gd fmla="*/ 143 w 143" name="T26"/>
                  <a:gd fmla="*/ 161 h 161" name="T27"/>
                  <a:gd fmla="*/ 95 w 143" name="T28"/>
                  <a:gd fmla="*/ 55 h 161" name="T29"/>
                  <a:gd fmla="*/ 95 w 143" name="T30"/>
                  <a:gd fmla="*/ 43 h 161" name="T31"/>
                  <a:gd fmla="*/ 90 w 143" name="T32"/>
                  <a:gd fmla="*/ 31 h 161" name="T33"/>
                  <a:gd fmla="*/ 72 w 143" name="T34"/>
                  <a:gd fmla="*/ 28 h 161" name="T35"/>
                  <a:gd fmla="*/ 38 w 143" name="T36"/>
                  <a:gd fmla="*/ 28 h 161" name="T37"/>
                  <a:gd fmla="*/ 38 w 143" name="T38"/>
                  <a:gd fmla="*/ 72 h 161" name="T39"/>
                  <a:gd fmla="*/ 72 w 143" name="T40"/>
                  <a:gd fmla="*/ 72 h 161" name="T41"/>
                  <a:gd fmla="*/ 90 w 143" name="T42"/>
                  <a:gd fmla="*/ 69 h 161" name="T43"/>
                  <a:gd fmla="*/ 95 w 143" name="T44"/>
                  <a:gd fmla="*/ 55 h 161" name="T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b="b" l="0" r="r" t="0"/>
                <a:pathLst>
                  <a:path h="161" w="143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fmla="*/ 131 w 131" name="T0"/>
                  <a:gd fmla="*/ 106 h 165" name="T1"/>
                  <a:gd fmla="*/ 131 w 131" name="T2"/>
                  <a:gd fmla="*/ 117 h 165" name="T3"/>
                  <a:gd fmla="*/ 126 w 131" name="T4"/>
                  <a:gd fmla="*/ 141 h 165" name="T5"/>
                  <a:gd fmla="*/ 111 w 131" name="T6"/>
                  <a:gd fmla="*/ 156 h 165" name="T7"/>
                  <a:gd fmla="*/ 88 w 131" name="T8"/>
                  <a:gd fmla="*/ 163 h 165" name="T9"/>
                  <a:gd fmla="*/ 60 w 131" name="T10"/>
                  <a:gd fmla="*/ 165 h 165" name="T11"/>
                  <a:gd fmla="*/ 3 w 131" name="T12"/>
                  <a:gd fmla="*/ 161 h 165" name="T13"/>
                  <a:gd fmla="*/ 3 w 131" name="T14"/>
                  <a:gd fmla="*/ 131 h 165" name="T15"/>
                  <a:gd fmla="*/ 60 w 131" name="T16"/>
                  <a:gd fmla="*/ 138 h 165" name="T17"/>
                  <a:gd fmla="*/ 92 w 131" name="T18"/>
                  <a:gd fmla="*/ 121 h 165" name="T19"/>
                  <a:gd fmla="*/ 92 w 131" name="T20"/>
                  <a:gd fmla="*/ 111 h 165" name="T21"/>
                  <a:gd fmla="*/ 88 w 131" name="T22"/>
                  <a:gd fmla="*/ 99 h 165" name="T23"/>
                  <a:gd fmla="*/ 71 w 131" name="T24"/>
                  <a:gd fmla="*/ 94 h 165" name="T25"/>
                  <a:gd fmla="*/ 53 w 131" name="T26"/>
                  <a:gd fmla="*/ 94 h 165" name="T27"/>
                  <a:gd fmla="*/ 0 w 131" name="T28"/>
                  <a:gd fmla="*/ 53 h 165" name="T29"/>
                  <a:gd fmla="*/ 0 w 131" name="T30"/>
                  <a:gd fmla="*/ 41 h 165" name="T31"/>
                  <a:gd fmla="*/ 17 w 131" name="T32"/>
                  <a:gd fmla="*/ 10 h 165" name="T33"/>
                  <a:gd fmla="*/ 73 w 131" name="T34"/>
                  <a:gd fmla="*/ 0 h 165" name="T35"/>
                  <a:gd fmla="*/ 123 w 131" name="T36"/>
                  <a:gd fmla="*/ 3 h 165" name="T37"/>
                  <a:gd fmla="*/ 123 w 131" name="T38"/>
                  <a:gd fmla="*/ 32 h 165" name="T39"/>
                  <a:gd fmla="*/ 72 w 131" name="T40"/>
                  <a:gd fmla="*/ 27 h 165" name="T41"/>
                  <a:gd fmla="*/ 46 w 131" name="T42"/>
                  <a:gd fmla="*/ 31 h 165" name="T43"/>
                  <a:gd fmla="*/ 38 w 131" name="T44"/>
                  <a:gd fmla="*/ 41 h 165" name="T45"/>
                  <a:gd fmla="*/ 38 w 131" name="T46"/>
                  <a:gd fmla="*/ 53 h 165" name="T47"/>
                  <a:gd fmla="*/ 60 w 131" name="T48"/>
                  <a:gd fmla="*/ 65 h 165" name="T49"/>
                  <a:gd fmla="*/ 79 w 131" name="T50"/>
                  <a:gd fmla="*/ 65 h 165" name="T51"/>
                  <a:gd fmla="*/ 119 w 131" name="T52"/>
                  <a:gd fmla="*/ 76 h 165" name="T53"/>
                  <a:gd fmla="*/ 131 w 131" name="T54"/>
                  <a:gd fmla="*/ 106 h 165" name="T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b="b" l="0" r="r" t="0"/>
                <a:pathLst>
                  <a:path h="165" w="131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fmla="*/ 395 w 395" name="T0"/>
                  <a:gd fmla="*/ 388 h 388" name="T1"/>
                  <a:gd fmla="*/ 301 w 395" name="T2"/>
                  <a:gd fmla="*/ 388 h 388" name="T3"/>
                  <a:gd fmla="*/ 268 w 395" name="T4"/>
                  <a:gd fmla="*/ 285 h 388" name="T5"/>
                  <a:gd fmla="*/ 125 w 395" name="T6"/>
                  <a:gd fmla="*/ 285 h 388" name="T7"/>
                  <a:gd fmla="*/ 92 w 395" name="T8"/>
                  <a:gd fmla="*/ 388 h 388" name="T9"/>
                  <a:gd fmla="*/ 0 w 395" name="T10"/>
                  <a:gd fmla="*/ 388 h 388" name="T11"/>
                  <a:gd fmla="*/ 142 w 395" name="T12"/>
                  <a:gd fmla="*/ 0 h 388" name="T13"/>
                  <a:gd fmla="*/ 256 w 395" name="T14"/>
                  <a:gd fmla="*/ 0 h 388" name="T15"/>
                  <a:gd fmla="*/ 395 w 395" name="T16"/>
                  <a:gd fmla="*/ 388 h 388" name="T17"/>
                  <a:gd fmla="*/ 246 w 395" name="T18"/>
                  <a:gd fmla="*/ 224 h 388" name="T19"/>
                  <a:gd fmla="*/ 198 w 395" name="T20"/>
                  <a:gd fmla="*/ 77 h 388" name="T21"/>
                  <a:gd fmla="*/ 195 w 395" name="T22"/>
                  <a:gd fmla="*/ 77 h 388" name="T23"/>
                  <a:gd fmla="*/ 147 w 395" name="T24"/>
                  <a:gd fmla="*/ 224 h 388" name="T25"/>
                  <a:gd fmla="*/ 246 w 395" name="T26"/>
                  <a:gd fmla="*/ 224 h 388" name="T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b="b" l="0" r="r" t="0"/>
                <a:pathLst>
                  <a:path h="388" w="395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fmla="*/ 364 w 364" name="T0"/>
                  <a:gd fmla="*/ 388 h 388" name="T1"/>
                  <a:gd fmla="*/ 270 w 364" name="T2"/>
                  <a:gd fmla="*/ 388 h 388" name="T3"/>
                  <a:gd fmla="*/ 82 w 364" name="T4"/>
                  <a:gd fmla="*/ 121 h 388" name="T5"/>
                  <a:gd fmla="*/ 82 w 364" name="T6"/>
                  <a:gd fmla="*/ 388 h 388" name="T7"/>
                  <a:gd fmla="*/ 0 w 364" name="T8"/>
                  <a:gd fmla="*/ 388 h 388" name="T9"/>
                  <a:gd fmla="*/ 0 w 364" name="T10"/>
                  <a:gd fmla="*/ 0 h 388" name="T11"/>
                  <a:gd fmla="*/ 94 w 364" name="T12"/>
                  <a:gd fmla="*/ 0 h 388" name="T13"/>
                  <a:gd fmla="*/ 279 w 364" name="T14"/>
                  <a:gd fmla="*/ 265 h 388" name="T15"/>
                  <a:gd fmla="*/ 279 w 364" name="T16"/>
                  <a:gd fmla="*/ 0 h 388" name="T17"/>
                  <a:gd fmla="*/ 364 w 364" name="T18"/>
                  <a:gd fmla="*/ 0 h 388" name="T19"/>
                  <a:gd fmla="*/ 364 w 364" name="T20"/>
                  <a:gd fmla="*/ 388 h 388" name="T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b="b" l="0" r="r" t="0"/>
                <a:pathLst>
                  <a:path h="388" w="364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rgbClr val="EF7F1A"/>
                  </a:solidFill>
                </a:endParaRPr>
              </a:p>
            </p:txBody>
          </p:sp>
        </p:grpSp>
      </p:grp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cstate="screen"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9888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717434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</p:spTree>
    <p:extLst>
      <p:ext uri="{BB962C8B-B14F-4D97-AF65-F5344CB8AC3E}">
        <p14:creationId xmlns:p14="http://schemas.microsoft.com/office/powerpoint/2010/main" val="200996896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en-US">
              <a:solidFill>
                <a:srgbClr val="32373C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hasCustomPrompt="1" idx="11" sz="quarter" type="body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anchor="ctr" bIns="0" lIns="0" rIns="0" tIns="0"/>
          <a:lstStyle>
            <a:lvl1pPr indent="0" marL="0">
              <a:buNone/>
              <a:defRPr b="1" sz="2400">
                <a:solidFill>
                  <a:schemeClr val="tx1"/>
                </a:solidFill>
              </a:defRPr>
            </a:lvl1pPr>
            <a:lvl2pPr indent="0" marL="291586">
              <a:buNone/>
              <a:defRPr sz="2400">
                <a:solidFill>
                  <a:schemeClr val="bg1"/>
                </a:solidFill>
              </a:defRPr>
            </a:lvl2pPr>
            <a:lvl3pPr indent="0" marL="583171">
              <a:buNone/>
              <a:defRPr sz="2400">
                <a:solidFill>
                  <a:schemeClr val="bg1"/>
                </a:solidFill>
              </a:defRPr>
            </a:lvl3pPr>
            <a:lvl4pPr indent="0" marL="874756">
              <a:buNone/>
              <a:defRPr sz="2400">
                <a:solidFill>
                  <a:schemeClr val="bg1"/>
                </a:solidFill>
              </a:defRPr>
            </a:lvl4pPr>
            <a:lvl5pPr indent="0" marL="1166341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dirty="0" lang="en-US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cstate="screen"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3" t="187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892683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4209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6" name="Text Placeholder 5"/>
          <p:cNvSpPr>
            <a:spLocks noGrp="1"/>
          </p:cNvSpPr>
          <p:nvPr>
            <p:ph hasCustomPrompt="1" idx="10" sz="quarter" type="body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anchor="b" anchorCtr="0" bIns="0" lIns="0" rIns="0" tIns="0"/>
          <a:lstStyle>
            <a:lvl1pPr indent="0" marL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indent="0" marL="291586">
              <a:buNone/>
              <a:defRPr/>
            </a:lvl2pPr>
            <a:lvl3pPr indent="0" marL="583171">
              <a:buNone/>
              <a:defRPr/>
            </a:lvl3pPr>
            <a:lvl4pPr indent="0" marL="874756">
              <a:buNone/>
              <a:defRPr/>
            </a:lvl4pPr>
            <a:lvl5pPr indent="0" marL="1166341">
              <a:buNone/>
              <a:defRPr/>
            </a:lvl5pPr>
          </a:lstStyle>
          <a:p>
            <a:pPr lvl="0"/>
            <a:r>
              <a:rPr dirty="0" lang="en-US"/>
              <a:t>Footnotes</a:t>
            </a:r>
          </a:p>
        </p:txBody>
      </p:sp>
    </p:spTree>
    <p:extLst>
      <p:ext uri="{BB962C8B-B14F-4D97-AF65-F5344CB8AC3E}">
        <p14:creationId xmlns:p14="http://schemas.microsoft.com/office/powerpoint/2010/main" val="120570044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2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74673109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3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</p:spTree>
    <p:extLst>
      <p:ext uri="{BB962C8B-B14F-4D97-AF65-F5344CB8AC3E}">
        <p14:creationId xmlns:p14="http://schemas.microsoft.com/office/powerpoint/2010/main" val="286439593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4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424952918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5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41016501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6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41238234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hasCustomPrompt="1" idx="14" sz="quarter" type="pic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59007978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2906967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6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 anchor="ctr" bIns="0" lIns="0" rIns="0" rtlCol="0" tIns="0" vert="horz">
            <a:noAutofit/>
          </a:bodyPr>
          <a:lstStyle>
            <a:lvl1pPr indent="0" marL="0">
              <a:buFont charset="0" panose="020B0604020202020204" pitchFamily="34" typeface="Arial"/>
              <a:buNone/>
              <a:defRPr dirty="0" lang="ru-RU"/>
            </a:lvl1pPr>
          </a:lstStyle>
          <a:p>
            <a:pPr lvl="0"/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8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29174624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7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226149146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70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hasCustomPrompt="1" idx="14" sz="quarter" type="body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hasCustomPrompt="1" idx="15" sz="quarter" type="pic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hasCustomPrompt="1" idx="18" sz="quarter" type="body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hasCustomPrompt="1" idx="19" sz="quarter" type="pic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hasCustomPrompt="1" idx="22" sz="quarter" type="body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1" name="Picture Placeholder 8"/>
          <p:cNvSpPr>
            <a:spLocks noGrp="1"/>
          </p:cNvSpPr>
          <p:nvPr>
            <p:ph hasCustomPrompt="1" idx="23" sz="quarter" type="pic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hasCustomPrompt="1" idx="26" sz="quarter" type="body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5" name="Picture Placeholder 8"/>
          <p:cNvSpPr>
            <a:spLocks noGrp="1"/>
          </p:cNvSpPr>
          <p:nvPr>
            <p:ph hasCustomPrompt="1" idx="27" sz="quarter" type="pic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253597414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71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3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hasCustomPrompt="1" idx="16" sz="quarter" type="body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7" sz="quarter" type="pic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hasCustomPrompt="1" idx="20" sz="quarter" type="body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hasCustomPrompt="1" idx="24" sz="quarter" type="body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buNone/>
              <a:defRPr b="0" dirty="0" kern="1200" lang="en-US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 defTabSz="583170" eaLnBrk="1" hangingPunct="1" indent="-145792" latinLnBrk="0" lvl="0" marL="145792" rtl="0">
              <a:lnSpc>
                <a:spcPct val="100000"/>
              </a:lnSpc>
              <a:spcBef>
                <a:spcPts val="0"/>
              </a:spcBef>
              <a:buFont charset="0" panose="020B0604020202020204" pitchFamily="34" typeface="Arial"/>
              <a:buNone/>
            </a:pPr>
            <a:r>
              <a:rPr dirty="0" lang="en-US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hasCustomPrompt="1" idx="25" sz="quarter" type="pic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-145792" latinLnBrk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45792" latinLnBrk="0" lvl="0" marL="145792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hasCustomPrompt="1" idx="28" sz="quarter" type="pic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dirty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hasCustomPrompt="1" idx="29" sz="quarter" type="pic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anchor="ctr" bIns="0" lIns="0" rIns="0" tIns="0"/>
          <a:lstStyle>
            <a:lvl1pPr algn="ctr" defTabSz="583170" eaLnBrk="1" fontAlgn="auto" hangingPunct="1" indent="0" latinLnBrk="0" marL="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charset="0" panose="020B0604020202020204" pitchFamily="34" typeface="Arial"/>
              <a:buNone/>
              <a:tabLst/>
              <a:defRPr b="0" lang="en-US" sz="1200">
                <a:solidFill>
                  <a:schemeClr val="tx1"/>
                </a:solidFill>
              </a:defRPr>
            </a:lvl1pPr>
          </a:lstStyle>
          <a:p>
            <a:pPr algn="ctr" defTabSz="583170" eaLnBrk="1" fontAlgn="auto" hangingPunct="1" indent="-171450" latinLnBrk="0" lvl="0" marL="171450" marR="0" rtl="0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dirty="0"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53852215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8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83863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hasCustomPrompt="1" idx="13" sz="quarter" type="pic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421147163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9.xml><?xml version="1.0" encoding="utf-8"?>
<p:sldLayout xmlns:p="http://schemas.openxmlformats.org/presentationml/2006/main" xmlns:a="http://schemas.openxmlformats.org/drawingml/2006/main" xmlns:r="http://schemas.openxmlformats.org/officeDocument/2006/relationships" preserve="1" showMasterSp="0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3" name="Rectangle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hasCustomPrompt="1" idx="11" sz="quarter" type="pic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anchor="ctr" bIns="0" lIns="0" rIns="0" tIns="0"/>
          <a:lstStyle>
            <a:lvl1pPr algn="ctr" indent="0" marL="0">
              <a:buNone/>
              <a:defRPr b="0" dirty="0" lang="en-US" sz="1800">
                <a:solidFill>
                  <a:schemeClr val="tx1"/>
                </a:solidFill>
              </a:defRPr>
            </a:lvl1pPr>
          </a:lstStyle>
          <a:p>
            <a:pPr indent="-145792" lvl="0" marL="145792"/>
            <a:r>
              <a:rPr dirty="0" lang="en-US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317499" y="0"/>
            <a:ext cx="1057759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dirty="0" lang="en-US"/>
              <a:t>Click to add title</a:t>
            </a:r>
            <a:endParaRPr dirty="0" lang="ru-RU"/>
          </a:p>
        </p:txBody>
      </p:sp>
      <p:sp>
        <p:nvSpPr>
          <p:cNvPr id="11" name="Text Placeholder 10"/>
          <p:cNvSpPr>
            <a:spLocks noGrp="1"/>
          </p:cNvSpPr>
          <p:nvPr>
            <p:ph hasCustomPrompt="1" idx="12" sz="quarter" type="body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bIns="0" lIns="0" rIns="0" tIns="0"/>
          <a:lstStyle>
            <a:lvl1pPr indent="0" marL="0">
              <a:spcAft>
                <a:spcPts val="300"/>
              </a:spcAft>
              <a:buNone/>
              <a:defRPr b="0" dirty="0" lang="en-US" sz="1600">
                <a:solidFill>
                  <a:schemeClr val="tx1"/>
                </a:solidFill>
              </a:defRPr>
            </a:lvl1pPr>
          </a:lstStyle>
          <a:p>
            <a:pPr indent="-145792" lvl="0" marL="145792">
              <a:lnSpc>
                <a:spcPct val="100000"/>
              </a:lnSpc>
              <a:spcBef>
                <a:spcPts val="0"/>
              </a:spcBef>
            </a:pPr>
            <a:r>
              <a:rPr dirty="0" lang="en-US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78526592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Masters/_rels/slideMaster1.xml.rels><?xml version="1.0" encoding="UTF-8" standalone="yes" ?><Relationships xmlns="http://schemas.openxmlformats.org/package/2006/relationships"><Relationship Id="rId8" Target="../slideLayouts/slideLayout8.xml" Type="http://schemas.openxmlformats.org/officeDocument/2006/relationships/slideLayout"/><Relationship Id="rId13" Target="../slideLayouts/slideLayout13.xml" Type="http://schemas.openxmlformats.org/officeDocument/2006/relationships/slideLayout"/><Relationship Id="rId18" Target="../tags/tag2.xml" Type="http://schemas.openxmlformats.org/officeDocument/2006/relationships/tags"/><Relationship Id="rId3" Target="../slideLayouts/slideLayout3.xml" Type="http://schemas.openxmlformats.org/officeDocument/2006/relationships/slideLayout"/><Relationship Id="rId21" Target="../media/image1.emf" Type="http://schemas.openxmlformats.org/officeDocument/2006/relationships/image"/><Relationship Id="rId7" Target="../slideLayouts/slideLayout7.xml" Type="http://schemas.openxmlformats.org/officeDocument/2006/relationships/slideLayout"/><Relationship Id="rId12" Target="../slideLayouts/slideLayout12.xml" Type="http://schemas.openxmlformats.org/officeDocument/2006/relationships/slideLayout"/><Relationship Id="rId2" Target="../slideLayouts/slideLayout2.xml" Type="http://schemas.openxmlformats.org/officeDocument/2006/relationships/slideLayout"/><Relationship Id="rId16" Target="../theme/theme1.xml" Type="http://schemas.openxmlformats.org/officeDocument/2006/relationships/theme"/><Relationship Id="rId20" Target="../media/image1.emf" Type="http://schemas.openxmlformats.org/officeDocument/2006/relationships/image"/><Relationship Id="rId1" Target="../slideLayouts/slideLayout1.xml" Type="http://schemas.openxmlformats.org/officeDocument/2006/relationships/slideLayout"/><Relationship Id="rId6" Target="../slideLayouts/slideLayout6.xml" Type="http://schemas.openxmlformats.org/officeDocument/2006/relationships/slideLayout"/><Relationship Id="rId11" Target="../slideLayouts/slideLayout11.xml" Type="http://schemas.openxmlformats.org/officeDocument/2006/relationships/slideLayout"/><Relationship Id="rId5" Target="../slideLayouts/slideLayout5.xml" Type="http://schemas.openxmlformats.org/officeDocument/2006/relationships/slideLayout"/><Relationship Id="rId15" Target="../slideLayouts/slideLayout15.xml" Type="http://schemas.openxmlformats.org/officeDocument/2006/relationships/slideLayout"/><Relationship Id="rId10" Target="../slideLayouts/slideLayout10.xml" Type="http://schemas.openxmlformats.org/officeDocument/2006/relationships/slideLayout"/><Relationship Id="rId19" Target="../tags/tag3.xml" Type="http://schemas.openxmlformats.org/officeDocument/2006/relationships/tags"/><Relationship Id="rId4" Target="../slideLayouts/slideLayout4.xml" Type="http://schemas.openxmlformats.org/officeDocument/2006/relationships/slideLayout"/><Relationship Id="rId9" Target="../slideLayouts/slideLayout9.xml" Type="http://schemas.openxmlformats.org/officeDocument/2006/relationships/slideLayout"/><Relationship Id="rId14" Target="../slideLayouts/slideLayout14.xml" Type="http://schemas.openxmlformats.org/officeDocument/2006/relationships/slideLayout"/><Relationship Id="rId22" Target="../media/image2.png" Type="http://schemas.openxmlformats.org/officeDocument/2006/relationships/image"/></Relationships>
</file>

<file path=ppt/slideMasters/_rels/slideMaster2.xml.rels><?xml version="1.0" encoding="UTF-8" standalone="yes" ?><Relationships xmlns="http://schemas.openxmlformats.org/package/2006/relationships"><Relationship Id="rId8" Target="../slideLayouts/slideLayout23.xml" Type="http://schemas.openxmlformats.org/officeDocument/2006/relationships/slideLayout"/><Relationship Id="rId13" Target="../slideLayouts/slideLayout28.xml" Type="http://schemas.openxmlformats.org/officeDocument/2006/relationships/slideLayout"/><Relationship Id="rId18" Target="../tags/tag31.xml" Type="http://schemas.openxmlformats.org/officeDocument/2006/relationships/tags"/><Relationship Id="rId3" Target="../slideLayouts/slideLayout18.xml" Type="http://schemas.openxmlformats.org/officeDocument/2006/relationships/slideLayout"/><Relationship Id="rId21" Target="../media/image2.png" Type="http://schemas.openxmlformats.org/officeDocument/2006/relationships/image"/><Relationship Id="rId7" Target="../slideLayouts/slideLayout22.xml" Type="http://schemas.openxmlformats.org/officeDocument/2006/relationships/slideLayout"/><Relationship Id="rId12" Target="../slideLayouts/slideLayout27.xml" Type="http://schemas.openxmlformats.org/officeDocument/2006/relationships/slideLayout"/><Relationship Id="rId17" Target="../tags/tag30.xml" Type="http://schemas.openxmlformats.org/officeDocument/2006/relationships/tags"/><Relationship Id="rId2" Target="../slideLayouts/slideLayout17.xml" Type="http://schemas.openxmlformats.org/officeDocument/2006/relationships/slideLayout"/><Relationship Id="rId20" Target="../media/image1.emf" Type="http://schemas.openxmlformats.org/officeDocument/2006/relationships/image"/><Relationship Id="rId1" Target="../slideLayouts/slideLayout16.xml" Type="http://schemas.openxmlformats.org/officeDocument/2006/relationships/slideLayout"/><Relationship Id="rId6" Target="../slideLayouts/slideLayout21.xml" Type="http://schemas.openxmlformats.org/officeDocument/2006/relationships/slideLayout"/><Relationship Id="rId11" Target="../slideLayouts/slideLayout26.xml" Type="http://schemas.openxmlformats.org/officeDocument/2006/relationships/slideLayout"/><Relationship Id="rId5" Target="../slideLayouts/slideLayout20.xml" Type="http://schemas.openxmlformats.org/officeDocument/2006/relationships/slideLayout"/><Relationship Id="rId15" Target="../theme/theme2.xml" Type="http://schemas.openxmlformats.org/officeDocument/2006/relationships/theme"/><Relationship Id="rId10" Target="../slideLayouts/slideLayout25.xml" Type="http://schemas.openxmlformats.org/officeDocument/2006/relationships/slideLayout"/><Relationship Id="rId19" Target="../media/image1.emf" Type="http://schemas.openxmlformats.org/officeDocument/2006/relationships/image"/><Relationship Id="rId4" Target="../slideLayouts/slideLayout19.xml" Type="http://schemas.openxmlformats.org/officeDocument/2006/relationships/slideLayout"/><Relationship Id="rId9" Target="../slideLayouts/slideLayout24.xml" Type="http://schemas.openxmlformats.org/officeDocument/2006/relationships/slideLayout"/><Relationship Id="rId14" Target="../slideLayouts/slideLayout29.xml" Type="http://schemas.openxmlformats.org/officeDocument/2006/relationships/slideLayout"/></Relationships>
</file>

<file path=ppt/slideMasters/_rels/slideMaster3.xml.rels><?xml version="1.0" encoding="UTF-8" standalone="yes" ?><Relationships xmlns="http://schemas.openxmlformats.org/package/2006/relationships"><Relationship Id="rId8" Target="../slideLayouts/slideLayout37.xml" Type="http://schemas.openxmlformats.org/officeDocument/2006/relationships/slideLayout"/><Relationship Id="rId13" Target="../slideLayouts/slideLayout42.xml" Type="http://schemas.openxmlformats.org/officeDocument/2006/relationships/slideLayout"/><Relationship Id="rId18" Target="../tags/tag59.xml" Type="http://schemas.openxmlformats.org/officeDocument/2006/relationships/tags"/><Relationship Id="rId3" Target="../slideLayouts/slideLayout32.xml" Type="http://schemas.openxmlformats.org/officeDocument/2006/relationships/slideLayout"/><Relationship Id="rId21" Target="../media/image2.png" Type="http://schemas.openxmlformats.org/officeDocument/2006/relationships/image"/><Relationship Id="rId7" Target="../slideLayouts/slideLayout36.xml" Type="http://schemas.openxmlformats.org/officeDocument/2006/relationships/slideLayout"/><Relationship Id="rId12" Target="../slideLayouts/slideLayout41.xml" Type="http://schemas.openxmlformats.org/officeDocument/2006/relationships/slideLayout"/><Relationship Id="rId17" Target="../tags/tag58.xml" Type="http://schemas.openxmlformats.org/officeDocument/2006/relationships/tags"/><Relationship Id="rId2" Target="../slideLayouts/slideLayout31.xml" Type="http://schemas.openxmlformats.org/officeDocument/2006/relationships/slideLayout"/><Relationship Id="rId20" Target="../media/image1.emf" Type="http://schemas.openxmlformats.org/officeDocument/2006/relationships/image"/><Relationship Id="rId1" Target="../slideLayouts/slideLayout30.xml" Type="http://schemas.openxmlformats.org/officeDocument/2006/relationships/slideLayout"/><Relationship Id="rId6" Target="../slideLayouts/slideLayout35.xml" Type="http://schemas.openxmlformats.org/officeDocument/2006/relationships/slideLayout"/><Relationship Id="rId11" Target="../slideLayouts/slideLayout40.xml" Type="http://schemas.openxmlformats.org/officeDocument/2006/relationships/slideLayout"/><Relationship Id="rId5" Target="../slideLayouts/slideLayout34.xml" Type="http://schemas.openxmlformats.org/officeDocument/2006/relationships/slideLayout"/><Relationship Id="rId15" Target="../theme/theme3.xml" Type="http://schemas.openxmlformats.org/officeDocument/2006/relationships/theme"/><Relationship Id="rId10" Target="../slideLayouts/slideLayout39.xml" Type="http://schemas.openxmlformats.org/officeDocument/2006/relationships/slideLayout"/><Relationship Id="rId19" Target="../media/image1.emf" Type="http://schemas.openxmlformats.org/officeDocument/2006/relationships/image"/><Relationship Id="rId4" Target="../slideLayouts/slideLayout33.xml" Type="http://schemas.openxmlformats.org/officeDocument/2006/relationships/slideLayout"/><Relationship Id="rId9" Target="../slideLayouts/slideLayout38.xml" Type="http://schemas.openxmlformats.org/officeDocument/2006/relationships/slideLayout"/><Relationship Id="rId14" Target="../slideLayouts/slideLayout43.xml" Type="http://schemas.openxmlformats.org/officeDocument/2006/relationships/slideLayout"/></Relationships>
</file>

<file path=ppt/slideMasters/_rels/slideMaster4.xml.rels><?xml version="1.0" encoding="UTF-8" standalone="yes" ?><Relationships xmlns="http://schemas.openxmlformats.org/package/2006/relationships"><Relationship Id="rId8" Target="../slideLayouts/slideLayout51.xml" Type="http://schemas.openxmlformats.org/officeDocument/2006/relationships/slideLayout"/><Relationship Id="rId13" Target="../slideLayouts/slideLayout56.xml" Type="http://schemas.openxmlformats.org/officeDocument/2006/relationships/slideLayout"/><Relationship Id="rId18" Target="../tags/tag87.xml" Type="http://schemas.openxmlformats.org/officeDocument/2006/relationships/tags"/><Relationship Id="rId3" Target="../slideLayouts/slideLayout46.xml" Type="http://schemas.openxmlformats.org/officeDocument/2006/relationships/slideLayout"/><Relationship Id="rId21" Target="../media/image2.png" Type="http://schemas.openxmlformats.org/officeDocument/2006/relationships/image"/><Relationship Id="rId7" Target="../slideLayouts/slideLayout50.xml" Type="http://schemas.openxmlformats.org/officeDocument/2006/relationships/slideLayout"/><Relationship Id="rId12" Target="../slideLayouts/slideLayout55.xml" Type="http://schemas.openxmlformats.org/officeDocument/2006/relationships/slideLayout"/><Relationship Id="rId17" Target="../tags/tag86.xml" Type="http://schemas.openxmlformats.org/officeDocument/2006/relationships/tags"/><Relationship Id="rId2" Target="../slideLayouts/slideLayout45.xml" Type="http://schemas.openxmlformats.org/officeDocument/2006/relationships/slideLayout"/><Relationship Id="rId20" Target="../media/image1.emf" Type="http://schemas.openxmlformats.org/officeDocument/2006/relationships/image"/><Relationship Id="rId1" Target="../slideLayouts/slideLayout44.xml" Type="http://schemas.openxmlformats.org/officeDocument/2006/relationships/slideLayout"/><Relationship Id="rId6" Target="../slideLayouts/slideLayout49.xml" Type="http://schemas.openxmlformats.org/officeDocument/2006/relationships/slideLayout"/><Relationship Id="rId11" Target="../slideLayouts/slideLayout54.xml" Type="http://schemas.openxmlformats.org/officeDocument/2006/relationships/slideLayout"/><Relationship Id="rId5" Target="../slideLayouts/slideLayout48.xml" Type="http://schemas.openxmlformats.org/officeDocument/2006/relationships/slideLayout"/><Relationship Id="rId15" Target="../theme/theme4.xml" Type="http://schemas.openxmlformats.org/officeDocument/2006/relationships/theme"/><Relationship Id="rId10" Target="../slideLayouts/slideLayout53.xml" Type="http://schemas.openxmlformats.org/officeDocument/2006/relationships/slideLayout"/><Relationship Id="rId19" Target="../media/image1.emf" Type="http://schemas.openxmlformats.org/officeDocument/2006/relationships/image"/><Relationship Id="rId4" Target="../slideLayouts/slideLayout47.xml" Type="http://schemas.openxmlformats.org/officeDocument/2006/relationships/slideLayout"/><Relationship Id="rId9" Target="../slideLayouts/slideLayout52.xml" Type="http://schemas.openxmlformats.org/officeDocument/2006/relationships/slideLayout"/><Relationship Id="rId14" Target="../slideLayouts/slideLayout57.xml" Type="http://schemas.openxmlformats.org/officeDocument/2006/relationships/slideLayout"/></Relationships>
</file>

<file path=ppt/slideMasters/_rels/slideMaster5.xml.rels><?xml version="1.0" encoding="UTF-8" standalone="yes" ?><Relationships xmlns="http://schemas.openxmlformats.org/package/2006/relationships"><Relationship Id="rId8" Target="../slideLayouts/slideLayout65.xml" Type="http://schemas.openxmlformats.org/officeDocument/2006/relationships/slideLayout"/><Relationship Id="rId13" Target="../slideLayouts/slideLayout70.xml" Type="http://schemas.openxmlformats.org/officeDocument/2006/relationships/slideLayout"/><Relationship Id="rId18" Target="../tags/tag115.xml" Type="http://schemas.openxmlformats.org/officeDocument/2006/relationships/tags"/><Relationship Id="rId3" Target="../slideLayouts/slideLayout60.xml" Type="http://schemas.openxmlformats.org/officeDocument/2006/relationships/slideLayout"/><Relationship Id="rId21" Target="../media/image2.png" Type="http://schemas.openxmlformats.org/officeDocument/2006/relationships/image"/><Relationship Id="rId7" Target="../slideLayouts/slideLayout64.xml" Type="http://schemas.openxmlformats.org/officeDocument/2006/relationships/slideLayout"/><Relationship Id="rId12" Target="../slideLayouts/slideLayout69.xml" Type="http://schemas.openxmlformats.org/officeDocument/2006/relationships/slideLayout"/><Relationship Id="rId17" Target="../tags/tag114.xml" Type="http://schemas.openxmlformats.org/officeDocument/2006/relationships/tags"/><Relationship Id="rId2" Target="../slideLayouts/slideLayout59.xml" Type="http://schemas.openxmlformats.org/officeDocument/2006/relationships/slideLayout"/><Relationship Id="rId20" Target="../media/image1.emf" Type="http://schemas.openxmlformats.org/officeDocument/2006/relationships/image"/><Relationship Id="rId1" Target="../slideLayouts/slideLayout58.xml" Type="http://schemas.openxmlformats.org/officeDocument/2006/relationships/slideLayout"/><Relationship Id="rId6" Target="../slideLayouts/slideLayout63.xml" Type="http://schemas.openxmlformats.org/officeDocument/2006/relationships/slideLayout"/><Relationship Id="rId11" Target="../slideLayouts/slideLayout68.xml" Type="http://schemas.openxmlformats.org/officeDocument/2006/relationships/slideLayout"/><Relationship Id="rId5" Target="../slideLayouts/slideLayout62.xml" Type="http://schemas.openxmlformats.org/officeDocument/2006/relationships/slideLayout"/><Relationship Id="rId15" Target="../theme/theme5.xml" Type="http://schemas.openxmlformats.org/officeDocument/2006/relationships/theme"/><Relationship Id="rId10" Target="../slideLayouts/slideLayout67.xml" Type="http://schemas.openxmlformats.org/officeDocument/2006/relationships/slideLayout"/><Relationship Id="rId19" Target="../media/image1.emf" Type="http://schemas.openxmlformats.org/officeDocument/2006/relationships/image"/><Relationship Id="rId4" Target="../slideLayouts/slideLayout61.xml" Type="http://schemas.openxmlformats.org/officeDocument/2006/relationships/slideLayout"/><Relationship Id="rId9" Target="../slideLayouts/slideLayout66.xml" Type="http://schemas.openxmlformats.org/officeDocument/2006/relationships/slideLayout"/><Relationship Id="rId14" Target="../slideLayouts/slideLayout71.xml" Type="http://schemas.openxmlformats.org/officeDocument/2006/relationships/slideLayout"/></Relationships>
</file>

<file path=ppt/slideMasters/slideMaster1.xml><?xml version="1.0" encoding="utf-8"?>
<p:sldMaster xmlns:p="http://schemas.openxmlformats.org/presentationml/2006/main" xmlns:a="http://schemas.openxmlformats.org/drawingml/2006/main" xmlns:r="http://schemas.openxmlformats.org/officeDocument/2006/relationships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20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4096" name="Rectangle 4095"/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eaLnBrk="1" indent="0" lvl="0" marL="0"/>
            <a:endParaRPr b="0" baseline="0" dirty="0" i="0" lang="en-US" sz="1800">
              <a:latin charset="0" panose="020B0604020202020204" pitchFamily="34" typeface="Arial"/>
              <a:ea typeface="+mj-ea"/>
              <a:cs typeface="+mj-cs"/>
              <a:sym charset="0" panose="020B0604020202020204" pitchFamily="34" typeface="Arial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4209" cy="706566"/>
          </a:xfrm>
          <a:prstGeom prst="rect">
            <a:avLst/>
          </a:prstGeom>
        </p:spPr>
        <p:txBody>
          <a:bodyPr anchor="ctr" bIns="0" lIns="0" rIns="0" rtlCol="0" tIns="0" vert="horz">
            <a:noAutofit/>
          </a:bodyPr>
          <a:lstStyle/>
          <a:p>
            <a:r>
              <a:rPr dirty="0" lang="en-US"/>
              <a:t>Click to add title</a:t>
            </a:r>
            <a:endParaRPr dirty="0" lang="ru-RU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cstate="screen" r:embed="rId2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0438" y="84287"/>
            <a:ext cx="757237" cy="53799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anchor="ctr" bIns="0" lIns="0" rIns="0" rtlCol="0" tIns="0" vert="horz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lvl="0"/>
            <a:fld id="{A629F11A-CAD2-4FD2-9793-0DC6E98D19B3}" type="slidenum">
              <a:rPr lang="ru-RU" smtClean="0" sz="1200">
                <a:solidFill>
                  <a:schemeClr val="tx1"/>
                </a:solidFill>
              </a:rPr>
              <a:pPr lvl="0"/>
              <a:t>‹#›</a:t>
            </a:fld>
            <a:endParaRPr dirty="0" lang="ru-RU" sz="1200">
              <a:solidFill>
                <a:schemeClr val="tx1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xmlns="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0043546"/>
      </p:ext>
    </p:extLst>
  </p:cSld>
  <p:clrMap accent1="accent1" accent2="accent2" accent3="accent3" accent4="accent4" accent5="accent5" accent6="accent6" bg1="lt1" bg2="lt2" folHlink="folHlink" hlink="hlink" tx1="dk1" tx2="dk2"/>
  <p:sldLayoutIdLst>
    <p:sldLayoutId id="2147483767" r:id="rId1"/>
    <p:sldLayoutId id="2147483761" r:id="rId2"/>
    <p:sldLayoutId id="2147483766" r:id="rId3"/>
    <p:sldLayoutId id="2147483696" r:id="rId4"/>
    <p:sldLayoutId id="2147483703" r:id="rId5"/>
    <p:sldLayoutId id="2147483708" r:id="rId6"/>
    <p:sldLayoutId id="2147483701" r:id="rId7"/>
    <p:sldLayoutId id="2147483742" r:id="rId8"/>
    <p:sldLayoutId id="2147483704" r:id="rId9"/>
    <p:sldLayoutId id="2147483707" r:id="rId10"/>
    <p:sldLayoutId id="2147483706" r:id="rId11"/>
    <p:sldLayoutId id="2147483716" r:id="rId12"/>
    <p:sldLayoutId id="2147483709" r:id="rId13"/>
    <p:sldLayoutId id="2147483710" r:id="rId14"/>
    <p:sldLayoutId id="2147483828" r:id="rId15"/>
  </p:sldLayoutIdLst>
  <p:hf dt="0" ftr="0" hdr="0"/>
  <p:txStyles>
    <p:titleStyle>
      <a:lvl1pPr algn="l" defTabSz="583170" eaLnBrk="1" hangingPunct="1" latinLnBrk="0" rtl="0">
        <a:lnSpc>
          <a:spcPct val="100000"/>
        </a:lnSpc>
        <a:spcBef>
          <a:spcPct val="0"/>
        </a:spcBef>
        <a:buNone/>
        <a:defRPr b="0" dirty="0" kern="1200" lang="ru-RU" sz="18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algn="l" defTabSz="583170" eaLnBrk="1" hangingPunct="1" indent="-145792" latinLnBrk="0" marL="145792" rtl="0">
        <a:lnSpc>
          <a:spcPct val="90000"/>
        </a:lnSpc>
        <a:spcBef>
          <a:spcPts val="638"/>
        </a:spcBef>
        <a:buFont charset="0" panose="020B0604020202020204" pitchFamily="34" typeface="Arial"/>
        <a:buChar char="•"/>
        <a:defRPr kern="1200" sz="1785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indent="-145792" latinLnBrk="0" marL="43737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531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indent="-145792" latinLnBrk="0" marL="72896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275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indent="-145792" latinLnBrk="0" marL="102054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indent="-145792" latinLnBrk="0" marL="131213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indent="-145792" latinLnBrk="0" marL="160371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indent="-145792" latinLnBrk="0" marL="189530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indent="-145792" latinLnBrk="0" marL="218688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indent="-145792" latinLnBrk="0" marL="2478472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algn="l" defTabSz="583170" eaLnBrk="1" hangingPunct="1" latinLnBrk="0" marL="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latinLnBrk="0" marL="29158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latinLnBrk="0" marL="58317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latinLnBrk="0" marL="87475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latinLnBrk="0" marL="116634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latinLnBrk="0" marL="1457924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latinLnBrk="0" marL="174951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latinLnBrk="0" marL="204109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latinLnBrk="0" marL="233268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p="http://schemas.openxmlformats.org/presentationml/2006/main" xmlns:a="http://schemas.openxmlformats.org/drawingml/2006/main" xmlns:r="http://schemas.openxmlformats.org/officeDocument/2006/relationships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4096" name="Rectangle 4095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4209" cy="706566"/>
          </a:xfrm>
          <a:prstGeom prst="rect">
            <a:avLst/>
          </a:prstGeom>
        </p:spPr>
        <p:txBody>
          <a:bodyPr anchor="ctr" bIns="0" lIns="0" rIns="0" rtlCol="0" tIns="0" vert="horz">
            <a:noAutofit/>
          </a:bodyPr>
          <a:lstStyle/>
          <a:p>
            <a:r>
              <a:rPr dirty="0" lang="en-US"/>
              <a:t>Click to add title</a:t>
            </a:r>
            <a:endParaRPr dirty="0" lang="ru-RU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cstate="screen"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0438" y="84287"/>
            <a:ext cx="757237" cy="53799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anchor="ctr" bIns="0" lIns="0" rIns="0" rtlCol="0" tIns="0" vert="horz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fld id="{A629F11A-CAD2-4FD2-9793-0DC6E98D19B3}" type="slidenum">
              <a:rPr lang="ru-RU" smtClean="0" sz="1200">
                <a:solidFill>
                  <a:srgbClr val="32373C"/>
                </a:solidFill>
              </a:rPr>
              <a:pPr/>
              <a:t>‹#›</a:t>
            </a:fld>
            <a:endParaRPr dirty="0" lang="ru-RU" sz="1200">
              <a:solidFill>
                <a:srgbClr val="32373C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xmlns="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9709985"/>
      </p:ext>
    </p:extLst>
  </p:cSld>
  <p:clrMap accent1="accent1" accent2="accent2" accent3="accent3" accent4="accent4" accent5="accent5" accent6="accent6" bg1="lt1" bg2="lt2" folHlink="folHlink" hlink="hlink" tx1="dk1" tx2="dk2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  <p:sldLayoutId id="2147483780" r:id="rId12"/>
    <p:sldLayoutId id="2147483781" r:id="rId13"/>
    <p:sldLayoutId id="2147483782" r:id="rId14"/>
  </p:sldLayoutIdLst>
  <p:hf dt="0" ftr="0" hdr="0"/>
  <p:txStyles>
    <p:titleStyle>
      <a:lvl1pPr algn="l" defTabSz="583170" eaLnBrk="1" hangingPunct="1" latinLnBrk="0" rtl="0">
        <a:lnSpc>
          <a:spcPct val="100000"/>
        </a:lnSpc>
        <a:spcBef>
          <a:spcPct val="0"/>
        </a:spcBef>
        <a:buNone/>
        <a:defRPr b="0" dirty="0" kern="1200" lang="ru-RU" sz="18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algn="l" defTabSz="583170" eaLnBrk="1" hangingPunct="1" indent="-145792" latinLnBrk="0" marL="145792" rtl="0">
        <a:lnSpc>
          <a:spcPct val="90000"/>
        </a:lnSpc>
        <a:spcBef>
          <a:spcPts val="638"/>
        </a:spcBef>
        <a:buFont charset="0" panose="020B0604020202020204" pitchFamily="34" typeface="Arial"/>
        <a:buChar char="•"/>
        <a:defRPr kern="1200" sz="1785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indent="-145792" latinLnBrk="0" marL="43737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531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indent="-145792" latinLnBrk="0" marL="72896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275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indent="-145792" latinLnBrk="0" marL="102054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indent="-145792" latinLnBrk="0" marL="131213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indent="-145792" latinLnBrk="0" marL="160371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indent="-145792" latinLnBrk="0" marL="189530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indent="-145792" latinLnBrk="0" marL="218688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indent="-145792" latinLnBrk="0" marL="2478472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algn="l" defTabSz="583170" eaLnBrk="1" hangingPunct="1" latinLnBrk="0" marL="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latinLnBrk="0" marL="29158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latinLnBrk="0" marL="58317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latinLnBrk="0" marL="87475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latinLnBrk="0" marL="116634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latinLnBrk="0" marL="1457924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latinLnBrk="0" marL="174951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latinLnBrk="0" marL="204109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latinLnBrk="0" marL="233268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p="http://schemas.openxmlformats.org/presentationml/2006/main" xmlns:a="http://schemas.openxmlformats.org/drawingml/2006/main" xmlns:r="http://schemas.openxmlformats.org/officeDocument/2006/relationships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4096" name="Rectangle 4095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4209" cy="706566"/>
          </a:xfrm>
          <a:prstGeom prst="rect">
            <a:avLst/>
          </a:prstGeom>
        </p:spPr>
        <p:txBody>
          <a:bodyPr anchor="ctr" bIns="0" lIns="0" rIns="0" rtlCol="0" tIns="0" vert="horz">
            <a:noAutofit/>
          </a:bodyPr>
          <a:lstStyle/>
          <a:p>
            <a:r>
              <a:rPr dirty="0" lang="en-US"/>
              <a:t>Click to add title</a:t>
            </a:r>
            <a:endParaRPr dirty="0" lang="ru-RU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cstate="screen"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0438" y="84287"/>
            <a:ext cx="757237" cy="53799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anchor="ctr" bIns="0" lIns="0" rIns="0" rtlCol="0" tIns="0" vert="horz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fld id="{A629F11A-CAD2-4FD2-9793-0DC6E98D19B3}" type="slidenum">
              <a:rPr lang="ru-RU" smtClean="0" sz="1200">
                <a:solidFill>
                  <a:srgbClr val="32373C"/>
                </a:solidFill>
              </a:rPr>
              <a:pPr/>
              <a:t>‹#›</a:t>
            </a:fld>
            <a:endParaRPr dirty="0" lang="ru-RU" sz="1200">
              <a:solidFill>
                <a:srgbClr val="32373C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xmlns="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7932005"/>
      </p:ext>
    </p:extLst>
  </p:cSld>
  <p:clrMap accent1="accent1" accent2="accent2" accent3="accent3" accent4="accent4" accent5="accent5" accent6="accent6" bg1="lt1" bg2="lt2" folHlink="folHlink" hlink="hlink" tx1="dk1" tx2="dk2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  <p:sldLayoutId id="2147483790" r:id="rId7"/>
    <p:sldLayoutId id="2147483791" r:id="rId8"/>
    <p:sldLayoutId id="2147483792" r:id="rId9"/>
    <p:sldLayoutId id="2147483793" r:id="rId10"/>
    <p:sldLayoutId id="2147483794" r:id="rId11"/>
    <p:sldLayoutId id="2147483795" r:id="rId12"/>
    <p:sldLayoutId id="2147483796" r:id="rId13"/>
    <p:sldLayoutId id="2147483797" r:id="rId14"/>
  </p:sldLayoutIdLst>
  <p:hf dt="0" ftr="0" hdr="0"/>
  <p:txStyles>
    <p:titleStyle>
      <a:lvl1pPr algn="l" defTabSz="583170" eaLnBrk="1" hangingPunct="1" latinLnBrk="0" rtl="0">
        <a:lnSpc>
          <a:spcPct val="100000"/>
        </a:lnSpc>
        <a:spcBef>
          <a:spcPct val="0"/>
        </a:spcBef>
        <a:buNone/>
        <a:defRPr b="0" dirty="0" kern="1200" lang="ru-RU" sz="18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algn="l" defTabSz="583170" eaLnBrk="1" hangingPunct="1" indent="-145792" latinLnBrk="0" marL="145792" rtl="0">
        <a:lnSpc>
          <a:spcPct val="90000"/>
        </a:lnSpc>
        <a:spcBef>
          <a:spcPts val="638"/>
        </a:spcBef>
        <a:buFont charset="0" panose="020B0604020202020204" pitchFamily="34" typeface="Arial"/>
        <a:buChar char="•"/>
        <a:defRPr kern="1200" sz="1785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indent="-145792" latinLnBrk="0" marL="43737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531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indent="-145792" latinLnBrk="0" marL="72896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275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indent="-145792" latinLnBrk="0" marL="102054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indent="-145792" latinLnBrk="0" marL="131213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indent="-145792" latinLnBrk="0" marL="160371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indent="-145792" latinLnBrk="0" marL="189530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indent="-145792" latinLnBrk="0" marL="218688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indent="-145792" latinLnBrk="0" marL="2478472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algn="l" defTabSz="583170" eaLnBrk="1" hangingPunct="1" latinLnBrk="0" marL="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latinLnBrk="0" marL="29158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latinLnBrk="0" marL="58317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latinLnBrk="0" marL="87475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latinLnBrk="0" marL="116634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latinLnBrk="0" marL="1457924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latinLnBrk="0" marL="174951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latinLnBrk="0" marL="204109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latinLnBrk="0" marL="233268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p="http://schemas.openxmlformats.org/presentationml/2006/main" xmlns:a="http://schemas.openxmlformats.org/drawingml/2006/main" xmlns:r="http://schemas.openxmlformats.org/officeDocument/2006/relationships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4096" name="Rectangle 4095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4209" cy="706566"/>
          </a:xfrm>
          <a:prstGeom prst="rect">
            <a:avLst/>
          </a:prstGeom>
        </p:spPr>
        <p:txBody>
          <a:bodyPr anchor="ctr" bIns="0" lIns="0" rIns="0" rtlCol="0" tIns="0" vert="horz">
            <a:noAutofit/>
          </a:bodyPr>
          <a:lstStyle/>
          <a:p>
            <a:r>
              <a:rPr dirty="0" lang="en-US"/>
              <a:t>Click to add title</a:t>
            </a:r>
            <a:endParaRPr dirty="0" lang="ru-RU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cstate="screen"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0438" y="84287"/>
            <a:ext cx="757237" cy="53799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anchor="ctr" bIns="0" lIns="0" rIns="0" rtlCol="0" tIns="0" vert="horz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fld id="{A629F11A-CAD2-4FD2-9793-0DC6E98D19B3}" type="slidenum">
              <a:rPr lang="ru-RU" smtClean="0" sz="1200">
                <a:solidFill>
                  <a:srgbClr val="32373C"/>
                </a:solidFill>
              </a:rPr>
              <a:pPr/>
              <a:t>‹#›</a:t>
            </a:fld>
            <a:endParaRPr dirty="0" lang="ru-RU" sz="1200">
              <a:solidFill>
                <a:srgbClr val="32373C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xmlns="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9872510"/>
      </p:ext>
    </p:extLst>
  </p:cSld>
  <p:clrMap accent1="accent1" accent2="accent2" accent3="accent3" accent4="accent4" accent5="accent5" accent6="accent6" bg1="lt1" bg2="lt2" folHlink="folHlink" hlink="hlink" tx1="dk1" tx2="dk2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11" r:id="rId13"/>
    <p:sldLayoutId id="2147483812" r:id="rId14"/>
  </p:sldLayoutIdLst>
  <p:hf dt="0" ftr="0" hdr="0"/>
  <p:txStyles>
    <p:titleStyle>
      <a:lvl1pPr algn="l" defTabSz="583170" eaLnBrk="1" hangingPunct="1" latinLnBrk="0" rtl="0">
        <a:lnSpc>
          <a:spcPct val="100000"/>
        </a:lnSpc>
        <a:spcBef>
          <a:spcPct val="0"/>
        </a:spcBef>
        <a:buNone/>
        <a:defRPr b="0" dirty="0" kern="1200" lang="ru-RU" sz="18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algn="l" defTabSz="583170" eaLnBrk="1" hangingPunct="1" indent="-145792" latinLnBrk="0" marL="145792" rtl="0">
        <a:lnSpc>
          <a:spcPct val="90000"/>
        </a:lnSpc>
        <a:spcBef>
          <a:spcPts val="638"/>
        </a:spcBef>
        <a:buFont charset="0" panose="020B0604020202020204" pitchFamily="34" typeface="Arial"/>
        <a:buChar char="•"/>
        <a:defRPr kern="1200" sz="1785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indent="-145792" latinLnBrk="0" marL="43737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531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indent="-145792" latinLnBrk="0" marL="72896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275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indent="-145792" latinLnBrk="0" marL="102054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indent="-145792" latinLnBrk="0" marL="131213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indent="-145792" latinLnBrk="0" marL="160371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indent="-145792" latinLnBrk="0" marL="189530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indent="-145792" latinLnBrk="0" marL="218688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indent="-145792" latinLnBrk="0" marL="2478472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algn="l" defTabSz="583170" eaLnBrk="1" hangingPunct="1" latinLnBrk="0" marL="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latinLnBrk="0" marL="29158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latinLnBrk="0" marL="58317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latinLnBrk="0" marL="87475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latinLnBrk="0" marL="116634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latinLnBrk="0" marL="1457924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latinLnBrk="0" marL="174951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latinLnBrk="0" marL="204109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latinLnBrk="0" marL="233268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Masters/slideMaster5.xml><?xml version="1.0" encoding="utf-8"?>
<p:sldMaster xmlns:p="http://schemas.openxmlformats.org/presentationml/2006/main" xmlns:a="http://schemas.openxmlformats.org/drawingml/2006/main" xmlns:r="http://schemas.openxmlformats.org/officeDocument/2006/relationships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4096" name="Rectangle 4095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/>
            <a:endParaRPr dirty="0" lang="en-US">
              <a:solidFill>
                <a:srgbClr val="FFFFFF"/>
              </a:solidFill>
              <a:sym charset="0" panose="020B0604020202020204" pitchFamily="34" typeface="Arial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4209" cy="706566"/>
          </a:xfrm>
          <a:prstGeom prst="rect">
            <a:avLst/>
          </a:prstGeom>
        </p:spPr>
        <p:txBody>
          <a:bodyPr anchor="ctr" bIns="0" lIns="0" rIns="0" rtlCol="0" tIns="0" vert="horz">
            <a:noAutofit/>
          </a:bodyPr>
          <a:lstStyle/>
          <a:p>
            <a:r>
              <a:rPr dirty="0" lang="en-US"/>
              <a:t>Click to add title</a:t>
            </a:r>
            <a:endParaRPr dirty="0" lang="ru-RU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cstate="screen"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0438" y="84287"/>
            <a:ext cx="757237" cy="53799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anchor="ctr" bIns="0" lIns="0" rIns="0" rtlCol="0" tIns="0" vert="horz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fld id="{A629F11A-CAD2-4FD2-9793-0DC6E98D19B3}" type="slidenum">
              <a:rPr lang="ru-RU" smtClean="0" sz="1200">
                <a:solidFill>
                  <a:srgbClr val="32373C"/>
                </a:solidFill>
              </a:rPr>
              <a:pPr/>
              <a:t>‹#›</a:t>
            </a:fld>
            <a:endParaRPr dirty="0" lang="ru-RU" sz="1200">
              <a:solidFill>
                <a:srgbClr val="32373C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xmlns="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8550464"/>
      </p:ext>
    </p:extLst>
  </p:cSld>
  <p:clrMap accent1="accent1" accent2="accent2" accent3="accent3" accent4="accent4" accent5="accent5" accent6="accent6" bg1="lt1" bg2="lt2" folHlink="folHlink" hlink="hlink" tx1="dk1" tx2="dk2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2" r:id="rId9"/>
    <p:sldLayoutId id="2147483823" r:id="rId10"/>
    <p:sldLayoutId id="2147483824" r:id="rId11"/>
    <p:sldLayoutId id="2147483825" r:id="rId12"/>
    <p:sldLayoutId id="2147483826" r:id="rId13"/>
    <p:sldLayoutId id="2147483827" r:id="rId14"/>
  </p:sldLayoutIdLst>
  <p:hf dt="0" ftr="0" hdr="0"/>
  <p:txStyles>
    <p:titleStyle>
      <a:lvl1pPr algn="l" defTabSz="583170" eaLnBrk="1" hangingPunct="1" latinLnBrk="0" rtl="0">
        <a:lnSpc>
          <a:spcPct val="100000"/>
        </a:lnSpc>
        <a:spcBef>
          <a:spcPct val="0"/>
        </a:spcBef>
        <a:buNone/>
        <a:defRPr b="0" dirty="0" kern="1200" lang="ru-RU" sz="18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algn="l" defTabSz="583170" eaLnBrk="1" hangingPunct="1" indent="-145792" latinLnBrk="0" marL="145792" rtl="0">
        <a:lnSpc>
          <a:spcPct val="90000"/>
        </a:lnSpc>
        <a:spcBef>
          <a:spcPts val="638"/>
        </a:spcBef>
        <a:buFont charset="0" panose="020B0604020202020204" pitchFamily="34" typeface="Arial"/>
        <a:buChar char="•"/>
        <a:defRPr kern="1200" sz="1785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indent="-145792" latinLnBrk="0" marL="43737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531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indent="-145792" latinLnBrk="0" marL="72896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275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indent="-145792" latinLnBrk="0" marL="102054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indent="-145792" latinLnBrk="0" marL="131213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indent="-145792" latinLnBrk="0" marL="160371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indent="-145792" latinLnBrk="0" marL="1895303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indent="-145792" latinLnBrk="0" marL="2186888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indent="-145792" latinLnBrk="0" marL="2478472" rtl="0">
        <a:lnSpc>
          <a:spcPct val="90000"/>
        </a:lnSpc>
        <a:spcBef>
          <a:spcPts val="319"/>
        </a:spcBef>
        <a:buFont charset="0" panose="020B0604020202020204" pitchFamily="34" typeface="Arial"/>
        <a:buChar char="•"/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algn="l" defTabSz="583170" eaLnBrk="1" hangingPunct="1" latinLnBrk="0" marL="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1pPr>
      <a:lvl2pPr algn="l" defTabSz="583170" eaLnBrk="1" hangingPunct="1" latinLnBrk="0" marL="29158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2pPr>
      <a:lvl3pPr algn="l" defTabSz="583170" eaLnBrk="1" hangingPunct="1" latinLnBrk="0" marL="58317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3pPr>
      <a:lvl4pPr algn="l" defTabSz="583170" eaLnBrk="1" hangingPunct="1" latinLnBrk="0" marL="87475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4pPr>
      <a:lvl5pPr algn="l" defTabSz="583170" eaLnBrk="1" hangingPunct="1" latinLnBrk="0" marL="116634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5pPr>
      <a:lvl6pPr algn="l" defTabSz="583170" eaLnBrk="1" hangingPunct="1" latinLnBrk="0" marL="1457924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6pPr>
      <a:lvl7pPr algn="l" defTabSz="583170" eaLnBrk="1" hangingPunct="1" latinLnBrk="0" marL="174951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7pPr>
      <a:lvl8pPr algn="l" defTabSz="583170" eaLnBrk="1" hangingPunct="1" latinLnBrk="0" marL="2041095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8pPr>
      <a:lvl9pPr algn="l" defTabSz="583170" eaLnBrk="1" hangingPunct="1" latinLnBrk="0" marL="2332680" rtl="0">
        <a:defRPr kern="1200" sz="1148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 ?><Relationships xmlns="http://schemas.openxmlformats.org/package/2006/relationships"><Relationship Id="rId3" Target="../media/image8.jpeg" Type="http://schemas.openxmlformats.org/officeDocument/2006/relationships/image"/><Relationship Id="rId2" Target="../media/image7.png" Type="http://schemas.openxmlformats.org/officeDocument/2006/relationships/image"/><Relationship Id="rId1" Target="../slideLayouts/slideLayout15.xml" Type="http://schemas.openxmlformats.org/officeDocument/2006/relationships/slideLayout"/><Relationship Id="rId6" Target="../media/image11.jpeg" Type="http://schemas.openxmlformats.org/officeDocument/2006/relationships/image"/><Relationship Id="rId5" Target="../media/image10.jpeg" Type="http://schemas.openxmlformats.org/officeDocument/2006/relationships/image"/><Relationship Id="rId4" Target="../media/image9.jpeg" Type="http://schemas.openxmlformats.org/officeDocument/2006/relationships/image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4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gif"/><Relationship Id="rId1" Type="http://schemas.openxmlformats.org/officeDocument/2006/relationships/slideLayout" Target="../slideLayouts/slideLayout4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4.gif"/><Relationship Id="rId1" Type="http://schemas.openxmlformats.org/officeDocument/2006/relationships/slideLayout" Target="../slideLayouts/slideLayout4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5.gif"/><Relationship Id="rId1" Type="http://schemas.openxmlformats.org/officeDocument/2006/relationships/slideLayout" Target="../slideLayouts/slideLayout4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6.gif"/><Relationship Id="rId1" Type="http://schemas.openxmlformats.org/officeDocument/2006/relationships/slideLayout" Target="../slideLayouts/slideLayout4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7.gif"/><Relationship Id="rId1" Type="http://schemas.openxmlformats.org/officeDocument/2006/relationships/slideLayout" Target="../slideLayouts/slideLayout4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47.xml"/></Relationships>
</file>

<file path=ppt/slides/_rels/slide8.xml.rels><?xml version="1.0" encoding="UTF-8" standalone="yes" ?><Relationships xmlns="http://schemas.openxmlformats.org/package/2006/relationships"><Relationship Id="rId2" Target="../media/image19.jpeg" Type="http://schemas.openxmlformats.org/officeDocument/2006/relationships/image"/><Relationship Id="rId1" Target="../slideLayouts/slideLayout47.xml" Type="http://schemas.openxmlformats.org/officeDocument/2006/relationships/slideLayout"/></Relationships>
</file>

<file path=ppt/slides/_rels/slide9.xml.rels><?xml version="1.0" encoding="UTF-8" standalone="yes" ?><Relationships xmlns="http://schemas.openxmlformats.org/package/2006/relationships"><Relationship Id="rId2" Target="../media/image19.jpeg" Type="http://schemas.openxmlformats.org/officeDocument/2006/relationships/image"/><Relationship Id="rId1" Target="../slideLayouts/slideLayout47.xml" Type="http://schemas.openxmlformats.org/officeDocument/2006/relationships/slideLayout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Заголовок 1"/>
          <p:cNvSpPr>
            <a:spLocks noGrp="1"/>
          </p:cNvSpPr>
          <p:nvPr>
            <p:ph type="ctrTitle"/>
          </p:nvPr>
        </p:nvSpPr>
        <p:spPr>
          <a:xfrm>
            <a:off x="2258485" y="350839"/>
            <a:ext cx="7742767" cy="485775"/>
          </a:xfrm>
        </p:spPr>
        <p:txBody>
          <a:bodyPr rtlCol="0">
            <a:no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kk-KZ" altLang="ru-RU" sz="18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kk-KZ" altLang="ru-RU" sz="18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kk-KZ" altLang="ru-RU" sz="18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Ә.Сағынов </a:t>
            </a:r>
            <a:r>
              <a:rPr lang="kk-KZ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тындағы Қарағанды техникалық университеті</a:t>
            </a:r>
            <a:r>
              <a:rPr lang="en-US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рагандинский технический университет имени А. </a:t>
            </a:r>
            <a:r>
              <a:rPr lang="ru-RU" altLang="ru-RU" sz="1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гинова</a:t>
            </a:r>
            <a:r>
              <a:rPr lang="en-US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altLang="ru-RU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araganda Technical University named after A. </a:t>
            </a:r>
            <a:r>
              <a:rPr lang="en-US" altLang="ru-RU" sz="18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aginov</a:t>
            </a:r>
            <a:endParaRPr lang="ru-RU" altLang="ru-RU" sz="18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51" name="Подзаголовок 2"/>
          <p:cNvSpPr>
            <a:spLocks noGrp="1" noChangeArrowheads="1"/>
          </p:cNvSpPr>
          <p:nvPr>
            <p:ph type="subTitle" idx="1"/>
          </p:nvPr>
        </p:nvSpPr>
        <p:spPr>
          <a:xfrm>
            <a:off x="0" y="2133601"/>
            <a:ext cx="12192000" cy="2676525"/>
          </a:xfrm>
        </p:spPr>
        <p:txBody>
          <a:bodyPr/>
          <a:lstStyle/>
          <a:p>
            <a:pPr eaLnBrk="1" hangingPunct="1"/>
            <a:r>
              <a:rPr lang="kk-KZ" altLang="ru-RU" sz="28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Основы горного производства</a:t>
            </a:r>
            <a:endParaRPr lang="en-US" altLang="ru-RU" sz="2800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eaLnBrk="1" hangingPunct="1"/>
            <a:r>
              <a:rPr lang="ru-RU" altLang="ru-RU" sz="2800" dirty="0" smtClean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(</a:t>
            </a:r>
            <a:r>
              <a:rPr lang="ru-RU" altLang="ru-RU" sz="2800" dirty="0" err="1" smtClean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PhD</a:t>
            </a:r>
            <a:r>
              <a:rPr lang="ru-RU" altLang="ru-RU" sz="2800" dirty="0" smtClean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) </a:t>
            </a:r>
            <a:r>
              <a:rPr lang="ru-RU" altLang="ru-RU" sz="2800" dirty="0" err="1" smtClean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и.о</a:t>
            </a:r>
            <a:r>
              <a:rPr lang="ru-RU" altLang="ru-RU" sz="2800" dirty="0" smtClean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. доцента кафедры</a:t>
            </a:r>
          </a:p>
          <a:p>
            <a:pPr eaLnBrk="1" hangingPunct="1"/>
            <a:r>
              <a:rPr lang="ru-RU" altLang="ru-RU" sz="2800" dirty="0" smtClean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«Разработка месторождений полезных ископаемых»</a:t>
            </a:r>
          </a:p>
          <a:p>
            <a:pPr eaLnBrk="1" hangingPunct="1"/>
            <a:r>
              <a:rPr lang="ru-RU" altLang="ru-RU" sz="2800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Рабатұлы</a:t>
            </a:r>
            <a:r>
              <a:rPr lang="ru-RU" altLang="ru-RU" sz="28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2800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Мұхаммедрахым</a:t>
            </a:r>
            <a:endParaRPr lang="ru-RU" altLang="ru-RU" sz="2800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052" name="Рисунок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16" y="74037"/>
            <a:ext cx="1503602" cy="1439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3" name="Заголовок 1"/>
          <p:cNvSpPr txBox="1">
            <a:spLocks/>
          </p:cNvSpPr>
          <p:nvPr/>
        </p:nvSpPr>
        <p:spPr bwMode="auto">
          <a:xfrm>
            <a:off x="2222501" y="5827713"/>
            <a:ext cx="7744884" cy="487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lnSpc>
                <a:spcPct val="90000"/>
              </a:lnSpc>
              <a:spcBef>
                <a:spcPts val="750"/>
              </a:spcBef>
              <a:buFont typeface="Arial" charset="0"/>
              <a:buChar char="•"/>
              <a:defRPr sz="21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375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375"/>
              </a:spcBef>
              <a:buFont typeface="Arial" charset="0"/>
              <a:buChar char="•"/>
              <a:defRPr sz="15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375"/>
              </a:spcBef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375"/>
              </a:spcBef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charset="0"/>
              <a:buChar char="•"/>
              <a:defRPr sz="1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dirty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Республика Казахстан</a:t>
            </a:r>
            <a:endParaRPr lang="ru-RU" altLang="ru-RU" sz="18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kk-KZ" altLang="ru-RU" sz="1800" dirty="0">
                <a:solidFill>
                  <a:srgbClr val="002060"/>
                </a:solidFill>
                <a:latin typeface="Times New Roman" pitchFamily="18" charset="0"/>
                <a:ea typeface="Calibri" pitchFamily="34" charset="0"/>
                <a:cs typeface="Calibri" pitchFamily="34" charset="0"/>
              </a:rPr>
              <a:t>город Караганда 2023</a:t>
            </a:r>
            <a:endParaRPr lang="ru-RU" altLang="ru-RU" sz="16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Семиугольник 7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solidFill>
                  <a:schemeClr val="tx1"/>
                </a:solidFill>
              </a:rPr>
              <a:t>1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2055" name="Рисунок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16" y="1964748"/>
            <a:ext cx="1511106" cy="1439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6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8582" y="873993"/>
            <a:ext cx="1307250" cy="1279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826" name="Picture 2" descr="C:\Users\User\Downloads\photo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3136" y="2153805"/>
            <a:ext cx="1325563" cy="1325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827" name="Picture 3" descr="C:\Users\User\Downloads\photo (1)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6336" y="74037"/>
            <a:ext cx="1662255" cy="1662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42951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7499" y="0"/>
            <a:ext cx="10584209" cy="704850"/>
          </a:xfrm>
        </p:spPr>
        <p:txBody>
          <a:bodyPr/>
          <a:lstStyle/>
          <a:p>
            <a:r>
              <a:rPr lang="ru-RU" dirty="0" smtClean="0"/>
              <a:t>Заключение</a:t>
            </a:r>
            <a:endParaRPr lang="ru-RU" dirty="0"/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88DB904F-F50E-F580-BF3B-B3D28351E84B}"/>
              </a:ext>
            </a:extLst>
          </p:cNvPr>
          <p:cNvSpPr txBox="1"/>
          <p:nvPr/>
        </p:nvSpPr>
        <p:spPr>
          <a:xfrm>
            <a:off x="6429735" y="5275956"/>
            <a:ext cx="4600937" cy="2149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унок </a:t>
            </a:r>
            <a:r>
              <a:rPr lang="ru-RU" sz="1200" b="1" spc="5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1.9 </a:t>
            </a: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– Взрывные работы</a:t>
            </a:r>
            <a:endParaRPr lang="ru-RU" sz="1200" spc="5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Rectangle 13">
            <a:extLst>
              <a:ext uri="{FF2B5EF4-FFF2-40B4-BE49-F238E27FC236}">
                <a16:creationId xmlns="" xmlns:a16="http://schemas.microsoft.com/office/drawing/2014/main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5686" y="625012"/>
            <a:ext cx="4812491" cy="50475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algn="just" defTabSz="914400"/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Горнодобывающая промышленность в настоящее время является не только одной из наиболее динамично развивающихся отраслей, но и отраслью, во многом определяющей уровень экономического развития страны в целом. При этом добыча руд и минерального сырья в основном ориентирована на открытый способ, как наиболее технологически эффективный, экономичный и безопасный.</a:t>
            </a:r>
          </a:p>
          <a:p>
            <a:pPr lvl="0" algn="just" defTabSz="914400"/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альнейшие перспективы развития этого способа добычи связан с работой в усложняющихся горно-геологических условиях, переходом на более глубокие горизонты и другими трудностями, приводящими к соответствующему увеличению </a:t>
            </a:r>
            <a:r>
              <a:rPr lang="ru-RU" altLang="x-none" sz="1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бъемов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работ.</a:t>
            </a:r>
          </a:p>
          <a:p>
            <a:pPr lvl="0" algn="just" defTabSz="914400"/>
            <a:r>
              <a:rPr lang="ru-RU" altLang="x-none" sz="1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Буровзрывной 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пособ добычи полезных ископаемых при открытой разработке месторождений является основным, что иллюстрируют данные об </a:t>
            </a:r>
            <a:r>
              <a:rPr lang="ru-RU" altLang="x-none" sz="1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бъемах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применения взрывчатых веществ. Так, мировое годовое потребление промышленных ВВ в настоящее время превысило 6 млн т, из которых более 2 млн т потребляется в США. После спада, связанного с периодом экономического кризиса, в России в последние годы отмечается рост </a:t>
            </a:r>
            <a:r>
              <a:rPr lang="ru-RU" altLang="x-none" sz="1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бъемов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производства и потребления промышленных ВВ, превысивших уже 600 тыс. </a:t>
            </a:r>
            <a:r>
              <a:rPr lang="ru-RU" altLang="x-none" sz="1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. </a:t>
            </a:r>
            <a:r>
              <a:rPr kumimoji="0" lang="ru-RU" altLang="x-none" sz="1400" b="0" i="0" u="none" strike="noStrike" cap="none" normalizeH="0" baseline="0" dirty="0" smtClean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(рис. </a:t>
            </a:r>
            <a:r>
              <a:rPr kumimoji="0" lang="ru-RU" altLang="x-none" sz="1400" b="0" i="0" u="none" strike="noStrike" cap="none" normalizeH="0" baseline="0" dirty="0" smtClean="0">
                <a:ln>
                  <a:noFill/>
                </a:ln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1.9).</a:t>
            </a:r>
            <a:endParaRPr kumimoji="0" lang="ru-RU" altLang="x-none" sz="1400" b="0" i="0" u="none" strike="noStrike" cap="none" normalizeH="0" baseline="0" dirty="0" smtClean="0">
              <a:ln>
                <a:noFill/>
              </a:ln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x-none" sz="1400" b="0" i="0" u="none" strike="noStrike" cap="none" normalizeH="0" baseline="0" dirty="0">
              <a:ln>
                <a:noFill/>
              </a:ln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Рисунок 6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9735" y="1656397"/>
            <a:ext cx="5086985" cy="339280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039483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7499" y="0"/>
            <a:ext cx="10584209" cy="704850"/>
          </a:xfrm>
        </p:spPr>
        <p:txBody>
          <a:bodyPr/>
          <a:lstStyle/>
          <a:p>
            <a:r>
              <a:rPr lang="ru-RU" dirty="0" smtClean="0"/>
              <a:t>Промышленные </a:t>
            </a:r>
            <a:r>
              <a:rPr lang="ru-RU" dirty="0"/>
              <a:t>взрывчатые вещества</a:t>
            </a: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xmlns="" id="{917BDEC7-5BF1-01AC-3483-2F6D41CD25E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8DB904F-F50E-F580-BF3B-B3D28351E84B}"/>
              </a:ext>
            </a:extLst>
          </p:cNvPr>
          <p:cNvSpPr txBox="1"/>
          <p:nvPr/>
        </p:nvSpPr>
        <p:spPr>
          <a:xfrm>
            <a:off x="6501265" y="4809231"/>
            <a:ext cx="4600937" cy="6765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унок </a:t>
            </a:r>
            <a:r>
              <a:rPr lang="ru-RU" sz="1200" b="1" spc="5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1.1</a:t>
            </a: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– Схема детонации бризантного взрывчатого вещества:</a:t>
            </a:r>
          </a:p>
          <a:p>
            <a:pPr algn="ctr">
              <a:lnSpc>
                <a:spcPts val="865"/>
              </a:lnSpc>
            </a:pP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 – капсюль (инициирующее взрывчатое вещество); 2 – детонатор;</a:t>
            </a:r>
          </a:p>
          <a:p>
            <a:pPr algn="ctr">
              <a:lnSpc>
                <a:spcPts val="865"/>
              </a:lnSpc>
            </a:pPr>
            <a:r>
              <a:rPr lang="ru-RU" sz="1200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3 – основной заряд бризантного взрывчатого вещества</a:t>
            </a: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5686" y="755416"/>
            <a:ext cx="4812491" cy="52629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algn="just" defTabSz="914400"/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ОМЫШЛЕННЫЕ ВЗРЫВЧАТЫЕ ВЕЩЕСТВА  — бризантные взрывчатые вещества, применяемые в народном хозяйстве. Используются в горном деле при вскрытии и эксплуатации месторождений, например около 90% руд чёрных и цветных металлов добывают взрывным способом, в строительстве при сооружении плотин и насыпей, прокладке авто- и железнодорожных магистралей, водных каналов, </a:t>
            </a:r>
            <a:r>
              <a:rPr lang="ru-RU" altLang="x-none" sz="1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ефте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и газопроводов, особенно в труднодоступных для техники местностях, при проходке тоннелей, шахтных стволов, а также при взрывных способах обработки металлов в машиностроении и металлургии, при сейсморазведке, при тушении лесных пожаров, уплотнении грунтов, в гидромелиоративном строительстве, расчистке и выравнивании местности и для других технических нужд. Бризантными называются такие взрывчатые вещества, которые при взрыве производят дробление окружающих предметов. Они значительно менее чувствительны к внешним воздействиям, чем инициирующие взрывчатые вещества, и детонируют обычно под воздействием взрыва другого взрывчатого вещества – детонатора. Детонатор представляет собой заряд взрывчатого вещества более чувствительного, чем взрывчатое вещество основного заряда. Взрыв детонатора осуществляется взрывом капсюля с инициирующим взрывчатым веществом (рис. </a:t>
            </a:r>
            <a:r>
              <a:rPr lang="ru-RU" altLang="x-none" sz="1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1.1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). </a:t>
            </a:r>
          </a:p>
        </p:txBody>
      </p:sp>
      <p:pic>
        <p:nvPicPr>
          <p:cNvPr id="7" name="Рисунок 6" descr="https://koi.tspu.ru/koi_books/sinogina/gl3_33.files/image002.gif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1375" y="1981200"/>
            <a:ext cx="3523300" cy="2090737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Семиугольник 7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dirty="0">
                <a:solidFill>
                  <a:schemeClr val="tx1"/>
                </a:solidFill>
              </a:rPr>
              <a:t>2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9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234362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7499" y="0"/>
            <a:ext cx="10584209" cy="704850"/>
          </a:xfrm>
        </p:spPr>
        <p:txBody>
          <a:bodyPr/>
          <a:lstStyle/>
          <a:p>
            <a:r>
              <a:rPr lang="ru-RU" dirty="0" smtClean="0"/>
              <a:t>Промышленные </a:t>
            </a:r>
            <a:r>
              <a:rPr lang="ru-RU" dirty="0"/>
              <a:t>взрывчатые вещества</a:t>
            </a: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xmlns="" id="{917BDEC7-5BF1-01AC-3483-2F6D41CD25E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8DB904F-F50E-F580-BF3B-B3D28351E84B}"/>
              </a:ext>
            </a:extLst>
          </p:cNvPr>
          <p:cNvSpPr txBox="1"/>
          <p:nvPr/>
        </p:nvSpPr>
        <p:spPr>
          <a:xfrm>
            <a:off x="6501265" y="4809231"/>
            <a:ext cx="4600937" cy="4457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унок </a:t>
            </a:r>
            <a:r>
              <a:rPr lang="ru-RU" sz="1200" b="1" spc="5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1.2</a:t>
            </a: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– Схема действия взрывчатого вещества на снаряд при горении:</a:t>
            </a:r>
          </a:p>
          <a:p>
            <a:pPr algn="ctr">
              <a:lnSpc>
                <a:spcPts val="865"/>
              </a:lnSpc>
            </a:pP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а – пороха; б – бризантного взрывчатого вещества</a:t>
            </a: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5686" y="1401746"/>
            <a:ext cx="4812491" cy="39703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algn="just" defTabSz="914400"/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орохами называются такие взрывчатые вещества, характер взрыва которых позволяет использовать их в качестве источника энергии движения снарядов, мин, пуль и реактивных снарядов. Основным видом взрывчатого превращения порохов в обычных условиях является быстрее сгорание. Пороха к внешним механическим воздействиям не чувствительны. Разница в действии пороха и бризантного взрывчатого вещества можно пояснить простым примером, показанным на рис. </a:t>
            </a:r>
            <a:r>
              <a:rPr lang="ru-RU" altLang="x-none" sz="1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1.2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 При быстром горении пороха (рис. </a:t>
            </a:r>
            <a:r>
              <a:rPr lang="ru-RU" altLang="x-none" sz="1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1.2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а) давление газа нарастает постепенно, снаряд движется с ускорением, врезаясь в нарезные каналы (которые служат для придания снаряду вращательного движения с целью стабилизации его траектории). При детонации (рис. </a:t>
            </a:r>
            <a:r>
              <a:rPr lang="ru-RU" altLang="x-none" sz="1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1.2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б) бризантного взрывчатого вещества при этих же условиях, газообразование происходит почти мгновенно, и образующиеся газы разрушают ствол и камеру.</a:t>
            </a:r>
          </a:p>
          <a:p>
            <a:pPr lvl="0" algn="just" defTabSz="914400"/>
            <a:endParaRPr lang="ru-RU" altLang="x-none" sz="140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" name="Рисунок 7" descr="https://koi.tspu.ru/koi_books/sinogina/gl3_33.files/image004.gif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4587" y="2206625"/>
            <a:ext cx="4962525" cy="200660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Семиугольник 6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dirty="0">
                <a:solidFill>
                  <a:schemeClr val="tx1"/>
                </a:solidFill>
              </a:rPr>
              <a:t>3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9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557782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7499" y="0"/>
            <a:ext cx="10584209" cy="704850"/>
          </a:xfrm>
        </p:spPr>
        <p:txBody>
          <a:bodyPr/>
          <a:lstStyle/>
          <a:p>
            <a:r>
              <a:rPr lang="ru-RU" dirty="0" smtClean="0"/>
              <a:t>Промышленные </a:t>
            </a:r>
            <a:r>
              <a:rPr lang="ru-RU" dirty="0"/>
              <a:t>взрывчатые вещества</a:t>
            </a: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xmlns="" id="{917BDEC7-5BF1-01AC-3483-2F6D41CD25E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8DB904F-F50E-F580-BF3B-B3D28351E84B}"/>
              </a:ext>
            </a:extLst>
          </p:cNvPr>
          <p:cNvSpPr txBox="1"/>
          <p:nvPr/>
        </p:nvSpPr>
        <p:spPr>
          <a:xfrm>
            <a:off x="6501265" y="4809231"/>
            <a:ext cx="4600937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унок </a:t>
            </a:r>
            <a:r>
              <a:rPr lang="ru-RU" sz="1200" b="1" spc="5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1.3 </a:t>
            </a: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– Схема патронного капсюля-воспламенителя</a:t>
            </a:r>
            <a:endParaRPr lang="ru-RU" sz="1200" spc="5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5686" y="1401746"/>
            <a:ext cx="4812491" cy="39703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algn="just" defTabSz="914400"/>
            <a:r>
              <a:rPr lang="ru-RU" altLang="x-none" sz="1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Гремучая 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туть в ударных составах </a:t>
            </a:r>
            <a:r>
              <a:rPr lang="ru-RU" altLang="x-none" sz="1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ает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первоначальную вспышку, антимоний является горючим и служит для усиления форса пламени, бертолетова соль – окислитель, поддерживающий горение. Капсюли-воспламенители делятся на патронные и трубочные.</a:t>
            </a:r>
          </a:p>
          <a:p>
            <a:pPr lvl="0" algn="just" defTabSz="914400"/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атронные капсюли-воспламенители применяются в патронах и капсюльных втулках стрелкового оружия и артиллерийских снарядах. Они воспламеняются от удара бойка и дают начальный импульс для воспламенения боевого заряда. Схема патронного капсюля-воспламенителя приведена на рис. </a:t>
            </a:r>
            <a:r>
              <a:rPr lang="ru-RU" altLang="x-none" sz="1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1.3</a:t>
            </a:r>
            <a:r>
              <a:rPr lang="ru-RU" altLang="x-none" sz="1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lvl="0" algn="just" defTabSz="914400"/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н состоит из металлической оболочки (колпачка) 1, выполненной из латуни или меди, в которую запрессован ударный состав 2. Сверху ударный состав закрывается фольговым или бумажным кружком 3. Трубочные капсюли-воспламенители применяются в трубках и взрывателях и служат для инициирования детонации капсюля-детонатора.</a:t>
            </a:r>
          </a:p>
          <a:p>
            <a:pPr lvl="0" algn="just" defTabSz="914400"/>
            <a:endParaRPr lang="ru-RU" altLang="x-none" sz="140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Рисунок 6" descr="https://koi.tspu.ru/koi_books/sinogina/gl3_33.files/image006.gif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8100" y="2685732"/>
            <a:ext cx="2662237" cy="1714818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Семиугольник 7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dirty="0">
                <a:solidFill>
                  <a:schemeClr val="tx1"/>
                </a:solidFill>
              </a:rPr>
              <a:t>4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9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926680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7499" y="0"/>
            <a:ext cx="10584209" cy="704850"/>
          </a:xfrm>
        </p:spPr>
        <p:txBody>
          <a:bodyPr/>
          <a:lstStyle/>
          <a:p>
            <a:r>
              <a:rPr lang="ru-RU" dirty="0" smtClean="0"/>
              <a:t>Промышленные </a:t>
            </a:r>
            <a:r>
              <a:rPr lang="ru-RU" dirty="0"/>
              <a:t>взрывчатые вещества</a:t>
            </a: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xmlns="" id="{917BDEC7-5BF1-01AC-3483-2F6D41CD25E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8DB904F-F50E-F580-BF3B-B3D28351E84B}"/>
              </a:ext>
            </a:extLst>
          </p:cNvPr>
          <p:cNvSpPr txBox="1"/>
          <p:nvPr/>
        </p:nvSpPr>
        <p:spPr>
          <a:xfrm>
            <a:off x="6501265" y="4809231"/>
            <a:ext cx="4600937" cy="6694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унок </a:t>
            </a:r>
            <a:r>
              <a:rPr lang="ru-RU" sz="1200" b="1" spc="5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1.4 </a:t>
            </a: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– Схема трубочного капсюля-воспламенителя:</a:t>
            </a:r>
          </a:p>
          <a:p>
            <a:pPr algn="ctr">
              <a:lnSpc>
                <a:spcPts val="865"/>
              </a:lnSpc>
            </a:pPr>
            <a:r>
              <a:rPr lang="ru-RU" sz="1200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 – колпачок с отверстием; 2 – ударный состав;</a:t>
            </a:r>
          </a:p>
          <a:p>
            <a:pPr algn="ctr">
              <a:lnSpc>
                <a:spcPts val="865"/>
              </a:lnSpc>
            </a:pPr>
            <a:r>
              <a:rPr lang="ru-RU" sz="1200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3 – фольговая чашечка; 4 – фольговая диафрагма</a:t>
            </a:r>
          </a:p>
          <a:p>
            <a:pPr algn="ctr">
              <a:lnSpc>
                <a:spcPts val="865"/>
              </a:lnSpc>
            </a:pPr>
            <a:endParaRPr lang="ru-RU" sz="1200" b="1" spc="5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5686" y="2048077"/>
            <a:ext cx="4812491" cy="26776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algn="just" defTabSz="914400"/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хема трубочного капсюля-воспламенителя приведена на рис. </a:t>
            </a:r>
            <a:r>
              <a:rPr lang="ru-RU" altLang="x-none" sz="1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1.4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 Для снаряжения трубочных капсюлей-воспламенителей используется тот же ударный состав, что и для патронных капсюлей-воспламенителей, но его масса в (5 ÷ 10) раз больше и составляет (0.08÷0.2) г.</a:t>
            </a:r>
          </a:p>
          <a:p>
            <a:pPr lvl="0" algn="just" defTabSz="914400"/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апсюли-детонаторы делятся на артиллерийские и подрывные. Артиллерийские капсюли-детонаторы применяют во взрывателях различных снарядов, мин, авиабомб и ручных грант. Назначение капсюля-детонатора – вызвать детонацию детонатора разрывного заряда бризантного взрывчатого вещества, которым </a:t>
            </a:r>
            <a:r>
              <a:rPr lang="ru-RU" altLang="x-none" sz="1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наряжен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заряд.</a:t>
            </a:r>
          </a:p>
        </p:txBody>
      </p:sp>
      <p:pic>
        <p:nvPicPr>
          <p:cNvPr id="8" name="Рисунок 7" descr="https://koi.tspu.ru/koi_books/sinogina/gl3_33.files/image008.gif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2412" y="2835651"/>
            <a:ext cx="2314575" cy="197358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Семиугольник 6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dirty="0">
                <a:solidFill>
                  <a:schemeClr val="tx1"/>
                </a:solidFill>
              </a:rPr>
              <a:t>5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9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699913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7499" y="0"/>
            <a:ext cx="10584209" cy="704850"/>
          </a:xfrm>
        </p:spPr>
        <p:txBody>
          <a:bodyPr/>
          <a:lstStyle/>
          <a:p>
            <a:r>
              <a:rPr lang="ru-RU" dirty="0" smtClean="0"/>
              <a:t>Промышленные </a:t>
            </a:r>
            <a:r>
              <a:rPr lang="ru-RU" dirty="0"/>
              <a:t>взрывчатые вещества</a:t>
            </a: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xmlns="" id="{917BDEC7-5BF1-01AC-3483-2F6D41CD25E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8DB904F-F50E-F580-BF3B-B3D28351E84B}"/>
              </a:ext>
            </a:extLst>
          </p:cNvPr>
          <p:cNvSpPr txBox="1"/>
          <p:nvPr/>
        </p:nvSpPr>
        <p:spPr>
          <a:xfrm>
            <a:off x="6501265" y="4809231"/>
            <a:ext cx="4600937" cy="4457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унок </a:t>
            </a:r>
            <a:r>
              <a:rPr lang="ru-RU" sz="1200" b="1" spc="5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1.5 </a:t>
            </a: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– Схема подрывного капсюля-детонатора:</a:t>
            </a:r>
          </a:p>
          <a:p>
            <a:pPr algn="ctr">
              <a:lnSpc>
                <a:spcPts val="865"/>
              </a:lnSpc>
            </a:pPr>
            <a:r>
              <a:rPr lang="ru-RU" sz="1200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-гильза; 2-стифнат свинца; 3-азид свинца; 4-тетрил</a:t>
            </a:r>
          </a:p>
          <a:p>
            <a:pPr algn="ctr">
              <a:lnSpc>
                <a:spcPts val="865"/>
              </a:lnSpc>
            </a:pPr>
            <a:endParaRPr lang="ru-RU" sz="1200" b="1" spc="5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5686" y="2909852"/>
            <a:ext cx="5293564" cy="954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algn="just" defTabSz="914400"/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одрывные капсюли-детонаторы предназначены для возбуждения детонации подрывных зарядов. Они действуют от форса огня (бикфордов шнур) или от </a:t>
            </a:r>
            <a:r>
              <a:rPr lang="ru-RU" altLang="x-none" sz="1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электрозапала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 Схема подрывного капсюля-детонатора приведена на рис. </a:t>
            </a:r>
            <a:r>
              <a:rPr lang="ru-RU" altLang="x-none" sz="1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1.5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pic>
        <p:nvPicPr>
          <p:cNvPr id="7" name="Рисунок 6" descr="https://koi.tspu.ru/koi_books/sinogina/gl3_33.files/image010.gif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9062" y="2776537"/>
            <a:ext cx="2828925" cy="1724025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Семиугольник 7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dirty="0">
                <a:solidFill>
                  <a:schemeClr val="tx1"/>
                </a:solidFill>
              </a:rPr>
              <a:t>6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9" name="Picture 10" descr="E:\фото\Фото Рабатұлы М\Phot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46281832"/>
      </p:ext>
    </p:extLst>
  </p:cSld>
  <p:clrMapOvr>
    <a:masterClrMapping/>
  </p:clrMapOvr>
</p:sld>
</file>

<file path=ppt/slides/slide7.xml><?xml version="1.0" encoding="utf-8"?>
<p:sld xmlns:p="http://schemas.openxmlformats.org/presentationml/2006/main" xmlns:a="http://schemas.openxmlformats.org/drawingml/2006/main" xmlns:r="http://schemas.openxmlformats.org/officeDocument/2006/relationships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7499" y="0"/>
            <a:ext cx="10584209" cy="704850"/>
          </a:xfrm>
        </p:spPr>
        <p:txBody>
          <a:bodyPr/>
          <a:lstStyle/>
          <a:p>
            <a:r>
              <a:rPr dirty="0" lang="ru-RU" smtClean="0"/>
              <a:t>Промышленные </a:t>
            </a:r>
            <a:r>
              <a:rPr dirty="0" lang="ru-RU"/>
              <a:t>взрывчатые вещества</a:t>
            </a: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xmlns="" id="{917BDEC7-5BF1-01AC-3483-2F6D41CD25E6}"/>
              </a:ext>
            </a:extLst>
          </p:cNvPr>
          <p:cNvSpPr>
            <a:spLocks noGrp="1"/>
          </p:cNvSpPr>
          <p:nvPr>
            <p:ph idx="10" sz="quarter" type="body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8DB904F-F50E-F580-BF3B-B3D28351E84B}"/>
              </a:ext>
            </a:extLst>
          </p:cNvPr>
          <p:cNvSpPr txBox="1"/>
          <p:nvPr/>
        </p:nvSpPr>
        <p:spPr>
          <a:xfrm>
            <a:off x="6501265" y="4809231"/>
            <a:ext cx="4600937" cy="4457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b="1" dirty="0" lang="ru-RU" spc="50" sz="1200"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Рисунок </a:t>
            </a:r>
            <a:r>
              <a:rPr b="1" dirty="0" lang="ru-RU" smtClean="0" spc="50" sz="1200"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11.6 </a:t>
            </a:r>
            <a:r>
              <a:rPr b="1" dirty="0" lang="ru-RU" spc="50" sz="1200"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– Определение бризантности ВВ</a:t>
            </a:r>
          </a:p>
          <a:p>
            <a:pPr algn="ctr">
              <a:lnSpc>
                <a:spcPts val="865"/>
              </a:lnSpc>
            </a:pPr>
            <a:r>
              <a:rPr dirty="0" lang="ru-RU" smtClean="0" spc="50" sz="1200"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а </a:t>
            </a:r>
            <a:r>
              <a:rPr dirty="0" lang="ru-RU" spc="50" sz="1200"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– сборка перед взрывом; б – обжатый свинцовый столбик</a:t>
            </a:r>
          </a:p>
          <a:p>
            <a:pPr algn="ctr">
              <a:lnSpc>
                <a:spcPts val="865"/>
              </a:lnSpc>
            </a:pPr>
            <a:endParaRPr b="1" dirty="0" lang="ru-RU" spc="50" sz="1200">
              <a:latin charset="0" panose="02020603050405020304" pitchFamily="18" typeface="Times New Roman"/>
              <a:ea charset="0" panose="02020603050405020304" pitchFamily="18" typeface="Times New Roman"/>
              <a:cs charset="0" panose="02020603050405020304" pitchFamily="18" typeface="Times New Roman"/>
            </a:endParaRP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5686" y="2155799"/>
            <a:ext cx="5293564" cy="2462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algn="ctr" dir="2700000" dist="35921" rotWithShape="0">
                    <a:schemeClr val="bg2"/>
                  </a:outerShdw>
                </a:effectLst>
              </a14:hiddenEffects>
            </a:ext>
          </a:extLst>
        </p:spPr>
        <p:txBody>
          <a:bodyPr anchor="ctr" anchorCtr="0" bIns="45720" compatLnSpc="1" lIns="91440" numCol="1" rIns="91440" tIns="45720" vert="horz" wrap="square">
            <a:prstTxWarp prst="textNoShape">
              <a:avLst/>
            </a:prstTxWarp>
            <a:spAutoFit/>
          </a:bodyPr>
          <a:lstStyle>
            <a:lvl1pPr eaLnBrk="0" fontAlgn="base" hangingPunct="0" indent="45085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charset="0" panose="020B0604020202020204" pitchFamily="34" typeface="Arial"/>
              </a:defRPr>
            </a:lvl9pPr>
          </a:lstStyle>
          <a:p>
            <a:pPr algn="just" defTabSz="914400" lvl="0"/>
            <a:r>
              <a:rPr altLang="x-none" dirty="0" lang="ru-RU" sz="1400"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Стандартные испытания на бризантность ВВ с критическим диаметром до 60 мм проводят с помощью обжатия свинцовых столбиков 6 (рис. </a:t>
            </a:r>
            <a:r>
              <a:rPr altLang="x-none" dirty="0" lang="ru-RU" smtClean="0" sz="1400"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11.6</a:t>
            </a:r>
            <a:r>
              <a:rPr altLang="x-none" dirty="0" lang="ru-RU" sz="1400">
                <a:latin charset="0" panose="02020603050405020304" pitchFamily="18" typeface="Times New Roman"/>
                <a:ea charset="0" panose="02020603050405020304" pitchFamily="18" typeface="Times New Roman"/>
                <a:cs charset="0" panose="02020603050405020304" pitchFamily="18" typeface="Times New Roman"/>
              </a:rPr>
              <a:t>) зарядами 2 массой 50 г при плотности 1 г/см3 в бумажных патронах 7 диаметром 40 мм (проба Гесса). Между столбиком и зарядом прокладывают стальную пластинку 4 диаметром 41 мм, а столбик располагают на массивной подставке 5. Сборку укрепляют шпагатом 3, взрывание производят капсюлем-детонатором 1. О бризантности судят по величине обжатия столбика, т. е. по разности между средними его высотами до и после взрыва, выраженной в миллиметрах. Бризантность большинства ВВ равна 10—30 мм.</a:t>
            </a:r>
          </a:p>
        </p:txBody>
      </p:sp>
      <p:pic>
        <p:nvPicPr>
          <p:cNvPr descr="http://industry-portal24.ru/uploads/posts/2012-07/1342449125_r31.jpg" id="8" name="Рисунок 7"/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"/>
          <a:stretch/>
        </p:blipFill>
        <p:spPr bwMode="auto">
          <a:xfrm>
            <a:off x="7434262" y="1697647"/>
            <a:ext cx="3171825" cy="292036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7" name="Семиугольник 6"/>
          <p:cNvSpPr/>
          <p:nvPr/>
        </p:nvSpPr>
        <p:spPr>
          <a:xfrm>
            <a:off x="169333" y="6281738"/>
            <a:ext cx="670984" cy="487362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dirty="0" lang="kk-KZ">
                <a:solidFill>
                  <a:schemeClr val="tx1"/>
                </a:solidFill>
              </a:rPr>
              <a:t>7</a:t>
            </a:r>
            <a:endParaRPr dirty="0" lang="ru-RU">
              <a:solidFill>
                <a:schemeClr val="tx1"/>
              </a:solidFill>
            </a:endParaRPr>
          </a:p>
        </p:txBody>
      </p:sp>
      <p:pic>
        <p:nvPicPr>
          <p:cNvPr descr="E:\фото\Фото Рабатұлы М\Photo.JPG" id="9" name="Picture 10"/>
          <p:cNvPicPr>
            <a:picLocks noChangeArrowheads="1" noChangeAspect="1"/>
          </p:cNvPicPr>
          <p:nvPr/>
        </p:nvPicPr>
        <p:blipFill>
          <a:blip cstate="print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178" y="0"/>
            <a:ext cx="932822" cy="91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423475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7499" y="0"/>
            <a:ext cx="10584209" cy="704850"/>
          </a:xfrm>
        </p:spPr>
        <p:txBody>
          <a:bodyPr/>
          <a:lstStyle/>
          <a:p>
            <a:r>
              <a:rPr lang="ru-RU" dirty="0"/>
              <a:t>Специальные виды взрывных работ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8DB904F-F50E-F580-BF3B-B3D28351E84B}"/>
              </a:ext>
            </a:extLst>
          </p:cNvPr>
          <p:cNvSpPr txBox="1"/>
          <p:nvPr/>
        </p:nvSpPr>
        <p:spPr>
          <a:xfrm>
            <a:off x="6863215" y="4523481"/>
            <a:ext cx="4600937" cy="5611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унок </a:t>
            </a:r>
            <a:r>
              <a:rPr lang="ru-RU" sz="1200" b="1" spc="5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1.7– </a:t>
            </a: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Линии максимальных глубин </a:t>
            </a:r>
            <a:r>
              <a:rPr lang="ru-RU" sz="1200" b="1" spc="5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рещинообразований</a:t>
            </a: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измеренные по реперам 1-20 в замкнутом пространстве в выработках прямоугольной (а) и арочной (б) форм поперечного сечения</a:t>
            </a: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5686" y="2155799"/>
            <a:ext cx="4812491" cy="2462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algn="just" defTabSz="914400"/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и проведении взрывных работ обычными способами наблюдается разрушение массива горных пород за пределами проектного контура выработки, вследствие чего образуются шероховатости, заколы и трещины, снижается устойчивость бортов, уступов, боковых </a:t>
            </a:r>
            <a:r>
              <a:rPr lang="ru-RU" altLang="x-none" sz="1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теиок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и кровли выработок. При проведении горных выработок фактические размеры превышают проектные.</a:t>
            </a:r>
          </a:p>
          <a:p>
            <a:pPr lvl="0" algn="just" defTabSz="914400"/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Характер разрушения законтурного массива при обычном взрывании зарядов </a:t>
            </a:r>
            <a:r>
              <a:rPr lang="ru-RU" altLang="x-none" sz="1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контуривающих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шпуров неодинаков в выработках различного поперечного сечения (рис. </a:t>
            </a:r>
            <a:r>
              <a:rPr lang="ru-RU" altLang="x-none" sz="1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1.7).</a:t>
            </a:r>
            <a:endParaRPr lang="ru-RU" altLang="x-none" sz="140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" name="Рисунок 7" descr="Линии максимальных глубин трещинообразований, измеренные по реперам 1-20 в замкнутом пространстве в выработках прямоугольной (а) и арочной (б) форм поперечного сечения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3027" y="2396171"/>
            <a:ext cx="5191125" cy="206565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711001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7499" y="0"/>
            <a:ext cx="10584209" cy="704850"/>
          </a:xfrm>
        </p:spPr>
        <p:txBody>
          <a:bodyPr/>
          <a:lstStyle/>
          <a:p>
            <a:r>
              <a:rPr lang="ru-RU" dirty="0"/>
              <a:t>Специальные виды взрывных работ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8DB904F-F50E-F580-BF3B-B3D28351E84B}"/>
              </a:ext>
            </a:extLst>
          </p:cNvPr>
          <p:cNvSpPr txBox="1"/>
          <p:nvPr/>
        </p:nvSpPr>
        <p:spPr>
          <a:xfrm>
            <a:off x="6863215" y="4523481"/>
            <a:ext cx="4600937" cy="5611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865"/>
              </a:lnSpc>
            </a:pP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исунок </a:t>
            </a:r>
            <a:r>
              <a:rPr lang="ru-RU" sz="1200" b="1" spc="5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1.8– </a:t>
            </a: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Линии максимальных глубин </a:t>
            </a:r>
            <a:r>
              <a:rPr lang="ru-RU" sz="1200" b="1" spc="5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рещинообразований</a:t>
            </a:r>
            <a:r>
              <a:rPr lang="ru-RU" sz="1200" b="1" spc="5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измеренные по реперам 1-20 в замкнутом пространстве в выработках прямоугольной (а) и арочной (б) форм поперечного сечения</a:t>
            </a:r>
          </a:p>
        </p:txBody>
      </p:sp>
      <p:sp>
        <p:nvSpPr>
          <p:cNvPr id="15" name="Rectangle 13">
            <a:extLst>
              <a:ext uri="{FF2B5EF4-FFF2-40B4-BE49-F238E27FC236}">
                <a16:creationId xmlns:a16="http://schemas.microsoft.com/office/drawing/2014/main" xmlns="" id="{BC0EB40C-181E-3755-6FC0-8F4724111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5686" y="2155799"/>
            <a:ext cx="4812491" cy="2462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algn="just" defTabSz="914400"/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и проведении взрывных работ обычными способами наблюдается разрушение массива горных пород за пределами проектного контура выработки, вследствие чего образуются шероховатости, заколы и трещины, снижается устойчивость бортов, уступов, боковых </a:t>
            </a:r>
            <a:r>
              <a:rPr lang="ru-RU" altLang="x-none" sz="1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теиок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и кровли выработок. При проведении горных выработок фактические размеры превышают проектные.</a:t>
            </a:r>
          </a:p>
          <a:p>
            <a:pPr lvl="0" algn="just" defTabSz="914400"/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Характер разрушения законтурного массива при обычном взрывании зарядов </a:t>
            </a:r>
            <a:r>
              <a:rPr lang="ru-RU" altLang="x-none" sz="1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контуривающих</a:t>
            </a:r>
            <a:r>
              <a:rPr lang="ru-RU" altLang="x-none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шпуров неодинаков в выработках различного поперечного сечения (рис. </a:t>
            </a:r>
            <a:r>
              <a:rPr lang="ru-RU" altLang="x-none" sz="1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1.8).</a:t>
            </a:r>
            <a:endParaRPr lang="ru-RU" altLang="x-none" sz="140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" name="Рисунок 7" descr="Линии максимальных глубин трещинообразований, измеренные по реперам 1-20 в замкнутом пространстве в выработках прямоугольной (а) и арочной (б) форм поперечного сечения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3027" y="2396171"/>
            <a:ext cx="5191125" cy="206565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481535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7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heme/theme1.xml><?xml version="1.0" encoding="utf-8"?>
<a:theme xmlns:a="http://schemas.openxmlformats.org/drawingml/2006/main" name="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Blank 16x9 (small size) (002).pptx [Read-Only]" id="{3CC24C2D-7AE9-468D-8FDE-4193F665763E}" vid="{E3C30269-D4C5-437F-840A-1A972437E116}"/>
    </a:ext>
  </a:extLst>
</a:theme>
</file>

<file path=ppt/theme/theme2.xml><?xml version="1.0" encoding="utf-8"?>
<a:theme xmlns:a="http://schemas.openxmlformats.org/drawingml/2006/main" name="1_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Blank 16x9 (small size) (002).pptx [Read-Only]" id="{3CC24C2D-7AE9-468D-8FDE-4193F665763E}" vid="{E3C30269-D4C5-437F-840A-1A972437E116}"/>
    </a:ext>
  </a:extLst>
</a:theme>
</file>

<file path=ppt/theme/theme3.xml><?xml version="1.0" encoding="utf-8"?>
<a:theme xmlns:a="http://schemas.openxmlformats.org/drawingml/2006/main" name="2_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Blank 16x9 (small size) (002).pptx [Read-Only]" id="{3CC24C2D-7AE9-468D-8FDE-4193F665763E}" vid="{E3C30269-D4C5-437F-840A-1A972437E116}"/>
    </a:ext>
  </a:extLst>
</a:theme>
</file>

<file path=ppt/theme/theme4.xml><?xml version="1.0" encoding="utf-8"?>
<a:theme xmlns:a="http://schemas.openxmlformats.org/drawingml/2006/main" name="3_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Blank 16x9 (small size) (002).pptx [Read-Only]" id="{3CC24C2D-7AE9-468D-8FDE-4193F665763E}" vid="{E3C30269-D4C5-437F-840A-1A972437E116}"/>
    </a:ext>
  </a:extLst>
</a:theme>
</file>

<file path=ppt/theme/theme5.xml><?xml version="1.0" encoding="utf-8"?>
<a:theme xmlns:a="http://schemas.openxmlformats.org/drawingml/2006/main" name="4_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Blank 16x9 (small size) (002).pptx [Read-Only]" id="{3CC24C2D-7AE9-468D-8FDE-4193F665763E}" vid="{E3C30269-D4C5-437F-840A-1A972437E116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6580</TotalTime>
  <Words>1183</Words>
  <Application>Microsoft Office PowerPoint</Application>
  <PresentationFormat>Произвольный</PresentationFormat>
  <Paragraphs>55</Paragraphs>
  <Slides>10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6" baseType="lpstr">
      <vt:lpstr>ERG</vt:lpstr>
      <vt:lpstr>1_ERG</vt:lpstr>
      <vt:lpstr>2_ERG</vt:lpstr>
      <vt:lpstr>3_ERG</vt:lpstr>
      <vt:lpstr>4_ERG</vt:lpstr>
      <vt:lpstr>Слайд think-cell</vt:lpstr>
      <vt:lpstr> Ә.Сағынов атындағы Қарағанды техникалық университеті Карагандинский технический университет имени А. Сагинова Karaganda Technical University named after A. Saginov</vt:lpstr>
      <vt:lpstr>Промышленные взрывчатые вещества</vt:lpstr>
      <vt:lpstr>Промышленные взрывчатые вещества</vt:lpstr>
      <vt:lpstr>Промышленные взрывчатые вещества</vt:lpstr>
      <vt:lpstr>Промышленные взрывчатые вещества</vt:lpstr>
      <vt:lpstr>Промышленные взрывчатые вещества</vt:lpstr>
      <vt:lpstr>Промышленные взрывчатые вещества</vt:lpstr>
      <vt:lpstr>Специальные виды взрывных работ</vt:lpstr>
      <vt:lpstr>Специальные виды взрывных работ</vt:lpstr>
      <vt:lpstr>Заключение</vt:lpstr>
    </vt:vector>
  </TitlesOfParts>
  <Company>ER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ia Donchenko</dc:creator>
  <cp:lastModifiedBy>User</cp:lastModifiedBy>
  <cp:revision>288</cp:revision>
  <dcterms:created xsi:type="dcterms:W3CDTF">2021-02-16T13:18:42Z</dcterms:created>
  <dcterms:modified xsi:type="dcterms:W3CDTF">2023-11-02T07:08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name="NXPowerLiteLastOptimized" pid="2">
    <vt:lpwstr>745445</vt:lpwstr>
  </property>
  <property fmtid="{D5CDD505-2E9C-101B-9397-08002B2CF9AE}" name="NXPowerLiteSettings" pid="3">
    <vt:lpwstr>F7000400038000</vt:lpwstr>
  </property>
  <property fmtid="{D5CDD505-2E9C-101B-9397-08002B2CF9AE}" name="NXPowerLiteVersion" pid="4">
    <vt:lpwstr>S10.0.0</vt:lpwstr>
  </property>
</Properties>
</file>